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2" r:id="rId4"/>
  </p:sldMasterIdLst>
  <p:notesMasterIdLst>
    <p:notesMasterId r:id="rId52"/>
  </p:notesMasterIdLst>
  <p:handoutMasterIdLst>
    <p:handoutMasterId r:id="rId53"/>
  </p:handoutMasterIdLst>
  <p:sldIdLst>
    <p:sldId id="327" r:id="rId5"/>
    <p:sldId id="330" r:id="rId6"/>
    <p:sldId id="331" r:id="rId7"/>
    <p:sldId id="332" r:id="rId8"/>
    <p:sldId id="298" r:id="rId9"/>
    <p:sldId id="262" r:id="rId10"/>
    <p:sldId id="299" r:id="rId11"/>
    <p:sldId id="302" r:id="rId12"/>
    <p:sldId id="264" r:id="rId13"/>
    <p:sldId id="1037" r:id="rId14"/>
    <p:sldId id="266" r:id="rId15"/>
    <p:sldId id="265" r:id="rId16"/>
    <p:sldId id="276" r:id="rId17"/>
    <p:sldId id="303" r:id="rId18"/>
    <p:sldId id="293" r:id="rId19"/>
    <p:sldId id="277" r:id="rId20"/>
    <p:sldId id="284" r:id="rId21"/>
    <p:sldId id="269" r:id="rId22"/>
    <p:sldId id="304" r:id="rId23"/>
    <p:sldId id="305" r:id="rId24"/>
    <p:sldId id="307" r:id="rId25"/>
    <p:sldId id="306" r:id="rId26"/>
    <p:sldId id="308" r:id="rId27"/>
    <p:sldId id="270" r:id="rId28"/>
    <p:sldId id="309" r:id="rId29"/>
    <p:sldId id="310" r:id="rId30"/>
    <p:sldId id="311" r:id="rId31"/>
    <p:sldId id="312" r:id="rId32"/>
    <p:sldId id="314" r:id="rId33"/>
    <p:sldId id="313" r:id="rId34"/>
    <p:sldId id="315" r:id="rId35"/>
    <p:sldId id="316" r:id="rId36"/>
    <p:sldId id="317" r:id="rId37"/>
    <p:sldId id="294" r:id="rId38"/>
    <p:sldId id="296" r:id="rId39"/>
    <p:sldId id="318" r:id="rId40"/>
    <p:sldId id="319" r:id="rId41"/>
    <p:sldId id="321" r:id="rId42"/>
    <p:sldId id="322" r:id="rId43"/>
    <p:sldId id="323" r:id="rId44"/>
    <p:sldId id="324" r:id="rId45"/>
    <p:sldId id="288" r:id="rId46"/>
    <p:sldId id="289" r:id="rId47"/>
    <p:sldId id="320" r:id="rId48"/>
    <p:sldId id="274" r:id="rId49"/>
    <p:sldId id="275" r:id="rId50"/>
    <p:sldId id="329" r:id="rId51"/>
  </p:sldIdLst>
  <p:sldSz cx="12192000" cy="6858000"/>
  <p:notesSz cx="6858000" cy="18573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 Malcolm" initials="RM" lastIdx="1" clrIdx="0">
    <p:extLst>
      <p:ext uri="{19B8F6BF-5375-455C-9EA6-DF929625EA0E}">
        <p15:presenceInfo xmlns:p15="http://schemas.microsoft.com/office/powerpoint/2012/main" userId="Rose Malcolm" providerId="None"/>
      </p:ext>
    </p:extLst>
  </p:cmAuthor>
  <p:cmAuthor id="2" name="Rose Malcolm" initials="RM [2]" lastIdx="7" clrIdx="1">
    <p:extLst>
      <p:ext uri="{19B8F6BF-5375-455C-9EA6-DF929625EA0E}">
        <p15:presenceInfo xmlns:p15="http://schemas.microsoft.com/office/powerpoint/2012/main" userId="17c9fa32013483c0" providerId="Windows Live"/>
      </p:ext>
    </p:extLst>
  </p:cmAuthor>
  <p:cmAuthor id="3" name="Ramesh Sannareddy" initials="RS" lastIdx="7" clrIdx="2">
    <p:extLst>
      <p:ext uri="{19B8F6BF-5375-455C-9EA6-DF929625EA0E}">
        <p15:presenceInfo xmlns:p15="http://schemas.microsoft.com/office/powerpoint/2012/main" userId="YZ5PSXVD06EfD4/04RF+4IpszM4ZmL7FtUZDJf4jPLA=" providerId="None"/>
      </p:ext>
    </p:extLst>
  </p:cmAuthor>
  <p:cmAuthor id="4" name="UPKAR LIDDER" initials="UL" lastIdx="2" clrIdx="3"/>
  <p:cmAuthor id="5" name="Leon Katsnelson" initials="LK" lastIdx="21" clrIdx="4">
    <p:extLst>
      <p:ext uri="{19B8F6BF-5375-455C-9EA6-DF929625EA0E}">
        <p15:presenceInfo xmlns:p15="http://schemas.microsoft.com/office/powerpoint/2012/main" userId="S::leon@ca.ibm.com::68697268-d1ba-4c91-8538-7f4d439d4f70" providerId="AD"/>
      </p:ext>
    </p:extLst>
  </p:cmAuthor>
  <p:cmAuthor id="6" name="YAN LUO" initials="YL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DDB"/>
    <a:srgbClr val="0948CB"/>
    <a:srgbClr val="0B49CB"/>
    <a:srgbClr val="F2F4F8"/>
    <a:srgbClr val="121619"/>
    <a:srgbClr val="F2F2F2"/>
    <a:srgbClr val="145579"/>
    <a:srgbClr val="3A6483"/>
    <a:srgbClr val="204E79"/>
    <a:srgbClr val="0054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8C9EB8-3540-3DFA-9212-535EE18E0E11}" v="77" dt="2021-07-12T20:33:42.116"/>
    <p1510:client id="{10340FDF-B15C-4CFF-B487-146F9B98A252}" v="28" dt="2021-08-10T21:47:37.589"/>
    <p1510:client id="{3BA0D230-C853-4667-83F9-D85E65BD4B24}" v="2" dt="2021-08-19T16:32:24.566"/>
    <p1510:client id="{5A0AAAB8-49A6-F942-A54D-C6F3E5FF3A63}" v="89" dt="2021-07-13T17:54:45.232"/>
    <p1510:client id="{76DF6DB8-F2E5-6C48-9ABE-786D868B0110}" v="955" dt="2021-07-13T17:56:41.616"/>
    <p1510:client id="{7FB42E05-DEC9-4126-B474-47B35F363E13}" v="30" dt="2021-07-12T20:25:12.855"/>
    <p1510:client id="{82D0390A-222A-332D-F9F9-70D15093EB60}" v="22" dt="2021-07-13T17:51:30.429"/>
    <p1510:client id="{86B35720-4193-446F-B2D5-9AD9984A55EF}" v="513" dt="2021-08-19T14:59:06.521"/>
    <p1510:client id="{998F4E3E-1A76-4A6B-98B6-08752F3768B3}" v="4" dt="2021-08-10T21:41:11.021"/>
    <p1510:client id="{9F30A1D2-6717-426C-A658-3A50309723ED}" v="4" dt="2021-08-10T21:42:35.526"/>
    <p1510:client id="{B63C8988-E1D3-4A52-8229-FA8C5EBD2ECD}" v="357" dt="2021-08-19T14:01:44.876"/>
    <p1510:client id="{C083896D-BE66-E85C-897C-A6AD0DF65F8C}" v="2226" dt="2021-07-13T17:34:38.142"/>
    <p1510:client id="{CC69BAD0-B878-4D5F-9EDC-F1CFB63E14B5}" v="190" dt="2021-08-18T18:06:57.811"/>
  </p1510:revLst>
</p1510:revInfo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01"/>
    <p:restoredTop sz="85174"/>
  </p:normalViewPr>
  <p:slideViewPr>
    <p:cSldViewPr snapToGrid="0" snapToObjects="1">
      <p:cViewPr varScale="1">
        <p:scale>
          <a:sx n="110" d="100"/>
          <a:sy n="110" d="100"/>
        </p:scale>
        <p:origin x="126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asgaraly@ibm.com" clId="Web-{CC69BAD0-B878-4D5F-9EDC-F1CFB63E14B5}"/>
    <pc:docChg chg="modSld">
      <pc:chgData name="annaasgaraly@ibm.com" userId="" providerId="" clId="Web-{CC69BAD0-B878-4D5F-9EDC-F1CFB63E14B5}" dt="2021-08-18T18:06:57.811" v="102"/>
      <pc:docMkLst>
        <pc:docMk/>
      </pc:docMkLst>
      <pc:sldChg chg="modSp mod setBg">
        <pc:chgData name="annaasgaraly@ibm.com" userId="" providerId="" clId="Web-{CC69BAD0-B878-4D5F-9EDC-F1CFB63E14B5}" dt="2021-08-18T18:06:06.057" v="76"/>
        <pc:sldMkLst>
          <pc:docMk/>
          <pc:sldMk cId="1553432724" sldId="262"/>
        </pc:sldMkLst>
        <pc:spChg chg="mod">
          <ac:chgData name="annaasgaraly@ibm.com" userId="" providerId="" clId="Web-{CC69BAD0-B878-4D5F-9EDC-F1CFB63E14B5}" dt="2021-08-18T18:01:46.694" v="21" actId="20577"/>
          <ac:spMkLst>
            <pc:docMk/>
            <pc:sldMk cId="1553432724" sldId="262"/>
            <ac:spMk id="7" creationId="{0BFEC426-B615-E549-83E5-140FD588BC64}"/>
          </ac:spMkLst>
        </pc:spChg>
        <pc:spChg chg="mod">
          <ac:chgData name="annaasgaraly@ibm.com" userId="" providerId="" clId="Web-{CC69BAD0-B878-4D5F-9EDC-F1CFB63E14B5}" dt="2021-08-18T18:01:43.726" v="19" actId="20577"/>
          <ac:spMkLst>
            <pc:docMk/>
            <pc:sldMk cId="1553432724" sldId="262"/>
            <ac:spMk id="13" creationId="{13C62649-0825-4926-8E2A-2EBCCFE00ECC}"/>
          </ac:spMkLst>
        </pc:spChg>
      </pc:sldChg>
      <pc:sldChg chg="modSp mod setBg">
        <pc:chgData name="annaasgaraly@ibm.com" userId="" providerId="" clId="Web-{CC69BAD0-B878-4D5F-9EDC-F1CFB63E14B5}" dt="2021-08-18T18:06:03.604" v="66"/>
        <pc:sldMkLst>
          <pc:docMk/>
          <pc:sldMk cId="3288665831" sldId="263"/>
        </pc:sldMkLst>
        <pc:spChg chg="mod">
          <ac:chgData name="annaasgaraly@ibm.com" userId="" providerId="" clId="Web-{CC69BAD0-B878-4D5F-9EDC-F1CFB63E14B5}" dt="2021-08-18T18:01:49.617" v="22" actId="20577"/>
          <ac:spMkLst>
            <pc:docMk/>
            <pc:sldMk cId="3288665831" sldId="263"/>
            <ac:spMk id="12" creationId="{D77AC1D2-8B41-4A7A-88CF-41E6B7D8C98D}"/>
          </ac:spMkLst>
        </pc:spChg>
      </pc:sldChg>
      <pc:sldChg chg="modSp mod setBg">
        <pc:chgData name="annaasgaraly@ibm.com" userId="" providerId="" clId="Web-{CC69BAD0-B878-4D5F-9EDC-F1CFB63E14B5}" dt="2021-08-18T18:06:04.338" v="69"/>
        <pc:sldMkLst>
          <pc:docMk/>
          <pc:sldMk cId="2987552906" sldId="264"/>
        </pc:sldMkLst>
        <pc:spChg chg="mod">
          <ac:chgData name="annaasgaraly@ibm.com" userId="" providerId="" clId="Web-{CC69BAD0-B878-4D5F-9EDC-F1CFB63E14B5}" dt="2021-08-18T18:02:01.914" v="25" actId="20577"/>
          <ac:spMkLst>
            <pc:docMk/>
            <pc:sldMk cId="2987552906" sldId="264"/>
            <ac:spMk id="8" creationId="{2A665A13-3129-46DF-B847-F273F3E96BE6}"/>
          </ac:spMkLst>
        </pc:spChg>
      </pc:sldChg>
      <pc:sldChg chg="modSp mod setBg">
        <pc:chgData name="annaasgaraly@ibm.com" userId="" providerId="" clId="Web-{CC69BAD0-B878-4D5F-9EDC-F1CFB63E14B5}" dt="2021-08-18T18:06:04.807" v="71"/>
        <pc:sldMkLst>
          <pc:docMk/>
          <pc:sldMk cId="1578726356" sldId="265"/>
        </pc:sldMkLst>
        <pc:spChg chg="mod">
          <ac:chgData name="annaasgaraly@ibm.com" userId="" providerId="" clId="Web-{CC69BAD0-B878-4D5F-9EDC-F1CFB63E14B5}" dt="2021-08-18T18:02:09.180" v="27" actId="20577"/>
          <ac:spMkLst>
            <pc:docMk/>
            <pc:sldMk cId="1578726356" sldId="265"/>
            <ac:spMk id="3" creationId="{32405FDA-CB27-4506-BA80-B7DD00CB25C5}"/>
          </ac:spMkLst>
        </pc:spChg>
      </pc:sldChg>
      <pc:sldChg chg="modSp mod setBg">
        <pc:chgData name="annaasgaraly@ibm.com" userId="" providerId="" clId="Web-{CC69BAD0-B878-4D5F-9EDC-F1CFB63E14B5}" dt="2021-08-18T18:06:04.573" v="70"/>
        <pc:sldMkLst>
          <pc:docMk/>
          <pc:sldMk cId="779971636" sldId="266"/>
        </pc:sldMkLst>
        <pc:spChg chg="mod">
          <ac:chgData name="annaasgaraly@ibm.com" userId="" providerId="" clId="Web-{CC69BAD0-B878-4D5F-9EDC-F1CFB63E14B5}" dt="2021-08-18T18:02:05.805" v="26" actId="20577"/>
          <ac:spMkLst>
            <pc:docMk/>
            <pc:sldMk cId="779971636" sldId="266"/>
            <ac:spMk id="3" creationId="{D9E97D81-A978-4758-8A93-47C19B104075}"/>
          </ac:spMkLst>
        </pc:spChg>
      </pc:sldChg>
      <pc:sldChg chg="modSp mod setBg">
        <pc:chgData name="annaasgaraly@ibm.com" userId="" providerId="" clId="Web-{CC69BAD0-B878-4D5F-9EDC-F1CFB63E14B5}" dt="2021-08-18T18:06:17.246" v="82"/>
        <pc:sldMkLst>
          <pc:docMk/>
          <pc:sldMk cId="3865605948" sldId="269"/>
        </pc:sldMkLst>
        <pc:spChg chg="mod">
          <ac:chgData name="annaasgaraly@ibm.com" userId="" providerId="" clId="Web-{CC69BAD0-B878-4D5F-9EDC-F1CFB63E14B5}" dt="2021-08-18T18:02:27.041" v="32" actId="20577"/>
          <ac:spMkLst>
            <pc:docMk/>
            <pc:sldMk cId="3865605948" sldId="269"/>
            <ac:spMk id="4" creationId="{54F4FCC5-6E7E-4FF0-BE45-680EEC392C9F}"/>
          </ac:spMkLst>
        </pc:spChg>
      </pc:sldChg>
      <pc:sldChg chg="modSp mod setBg">
        <pc:chgData name="annaasgaraly@ibm.com" userId="" providerId="" clId="Web-{CC69BAD0-B878-4D5F-9EDC-F1CFB63E14B5}" dt="2021-08-18T18:06:32.169" v="92"/>
        <pc:sldMkLst>
          <pc:docMk/>
          <pc:sldMk cId="2727850971" sldId="270"/>
        </pc:sldMkLst>
        <pc:spChg chg="mod">
          <ac:chgData name="annaasgaraly@ibm.com" userId="" providerId="" clId="Web-{CC69BAD0-B878-4D5F-9EDC-F1CFB63E14B5}" dt="2021-08-18T18:02:51.855" v="38" actId="20577"/>
          <ac:spMkLst>
            <pc:docMk/>
            <pc:sldMk cId="2727850971" sldId="270"/>
            <ac:spMk id="3" creationId="{86E60219-AE1B-47B6-9A1D-F2865D04BE52}"/>
          </ac:spMkLst>
        </pc:spChg>
      </pc:sldChg>
      <pc:sldChg chg="modSp mod setBg">
        <pc:chgData name="annaasgaraly@ibm.com" userId="" providerId="" clId="Web-{CC69BAD0-B878-4D5F-9EDC-F1CFB63E14B5}" dt="2021-08-18T18:06:57.358" v="100"/>
        <pc:sldMkLst>
          <pc:docMk/>
          <pc:sldMk cId="1630123617" sldId="274"/>
        </pc:sldMkLst>
        <pc:spChg chg="mod">
          <ac:chgData name="annaasgaraly@ibm.com" userId="" providerId="" clId="Web-{CC69BAD0-B878-4D5F-9EDC-F1CFB63E14B5}" dt="2021-08-18T18:04:11.221" v="58" actId="20577"/>
          <ac:spMkLst>
            <pc:docMk/>
            <pc:sldMk cId="1630123617" sldId="274"/>
            <ac:spMk id="9" creationId="{FB98079A-48C6-4E10-8AB1-B940BD1E42DF}"/>
          </ac:spMkLst>
        </pc:spChg>
      </pc:sldChg>
      <pc:sldChg chg="modSp mod setBg">
        <pc:chgData name="annaasgaraly@ibm.com" userId="" providerId="" clId="Web-{CC69BAD0-B878-4D5F-9EDC-F1CFB63E14B5}" dt="2021-08-18T18:06:57.592" v="101"/>
        <pc:sldMkLst>
          <pc:docMk/>
          <pc:sldMk cId="3410008520" sldId="275"/>
        </pc:sldMkLst>
        <pc:spChg chg="mod">
          <ac:chgData name="annaasgaraly@ibm.com" userId="" providerId="" clId="Web-{CC69BAD0-B878-4D5F-9EDC-F1CFB63E14B5}" dt="2021-08-18T18:04:14.549" v="59" actId="20577"/>
          <ac:spMkLst>
            <pc:docMk/>
            <pc:sldMk cId="3410008520" sldId="275"/>
            <ac:spMk id="11" creationId="{60F8A56C-5EE1-4DBF-842D-C2A130AA680E}"/>
          </ac:spMkLst>
        </pc:spChg>
      </pc:sldChg>
      <pc:sldChg chg="modSp mod setBg">
        <pc:chgData name="annaasgaraly@ibm.com" userId="" providerId="" clId="Web-{CC69BAD0-B878-4D5F-9EDC-F1CFB63E14B5}" dt="2021-08-18T18:06:05.057" v="72"/>
        <pc:sldMkLst>
          <pc:docMk/>
          <pc:sldMk cId="148114319" sldId="276"/>
        </pc:sldMkLst>
        <pc:spChg chg="mod">
          <ac:chgData name="annaasgaraly@ibm.com" userId="" providerId="" clId="Web-{CC69BAD0-B878-4D5F-9EDC-F1CFB63E14B5}" dt="2021-08-18T18:02:12.915" v="28" actId="20577"/>
          <ac:spMkLst>
            <pc:docMk/>
            <pc:sldMk cId="148114319" sldId="276"/>
            <ac:spMk id="3" creationId="{B28946E4-5BEF-46F0-A56A-E7E85ACA148F}"/>
          </ac:spMkLst>
        </pc:spChg>
      </pc:sldChg>
      <pc:sldChg chg="modSp mod setBg">
        <pc:chgData name="annaasgaraly@ibm.com" userId="" providerId="" clId="Web-{CC69BAD0-B878-4D5F-9EDC-F1CFB63E14B5}" dt="2021-08-18T18:06:05.792" v="75"/>
        <pc:sldMkLst>
          <pc:docMk/>
          <pc:sldMk cId="321008965" sldId="277"/>
        </pc:sldMkLst>
        <pc:spChg chg="mod">
          <ac:chgData name="annaasgaraly@ibm.com" userId="" providerId="" clId="Web-{CC69BAD0-B878-4D5F-9EDC-F1CFB63E14B5}" dt="2021-08-18T18:02:23.244" v="31" actId="20577"/>
          <ac:spMkLst>
            <pc:docMk/>
            <pc:sldMk cId="321008965" sldId="277"/>
            <ac:spMk id="7" creationId="{330F9542-6794-4F57-BB45-868D94AD06B0}"/>
          </ac:spMkLst>
        </pc:spChg>
      </pc:sldChg>
      <pc:sldChg chg="mod setBg">
        <pc:chgData name="annaasgaraly@ibm.com" userId="" providerId="" clId="Web-{CC69BAD0-B878-4D5F-9EDC-F1CFB63E14B5}" dt="2021-08-18T17:50:32.723" v="3"/>
        <pc:sldMkLst>
          <pc:docMk/>
          <pc:sldMk cId="3181088097" sldId="278"/>
        </pc:sldMkLst>
      </pc:sldChg>
      <pc:sldChg chg="mod setBg">
        <pc:chgData name="annaasgaraly@ibm.com" userId="" providerId="" clId="Web-{CC69BAD0-B878-4D5F-9EDC-F1CFB63E14B5}" dt="2021-08-18T17:50:22.097" v="2"/>
        <pc:sldMkLst>
          <pc:docMk/>
          <pc:sldMk cId="178270660" sldId="284"/>
        </pc:sldMkLst>
      </pc:sldChg>
      <pc:sldChg chg="mod setBg">
        <pc:chgData name="annaasgaraly@ibm.com" userId="" providerId="" clId="Web-{CC69BAD0-B878-4D5F-9EDC-F1CFB63E14B5}" dt="2021-08-18T17:51:05.491" v="6"/>
        <pc:sldMkLst>
          <pc:docMk/>
          <pc:sldMk cId="1290394134" sldId="288"/>
        </pc:sldMkLst>
      </pc:sldChg>
      <pc:sldChg chg="modSp mod setBg">
        <pc:chgData name="annaasgaraly@ibm.com" userId="" providerId="" clId="Web-{CC69BAD0-B878-4D5F-9EDC-F1CFB63E14B5}" dt="2021-08-18T18:06:57.811" v="102"/>
        <pc:sldMkLst>
          <pc:docMk/>
          <pc:sldMk cId="2459446073" sldId="289"/>
        </pc:sldMkLst>
        <pc:spChg chg="mod">
          <ac:chgData name="annaasgaraly@ibm.com" userId="" providerId="" clId="Web-{CC69BAD0-B878-4D5F-9EDC-F1CFB63E14B5}" dt="2021-08-18T18:04:04.486" v="56" actId="20577"/>
          <ac:spMkLst>
            <pc:docMk/>
            <pc:sldMk cId="2459446073" sldId="289"/>
            <ac:spMk id="9" creationId="{B68D8986-45AC-4FB5-96E8-C45F9603EB5E}"/>
          </ac:spMkLst>
        </pc:spChg>
      </pc:sldChg>
      <pc:sldChg chg="modSp mod setBg">
        <pc:chgData name="annaasgaraly@ibm.com" userId="" providerId="" clId="Web-{CC69BAD0-B878-4D5F-9EDC-F1CFB63E14B5}" dt="2021-08-18T18:06:05.542" v="74"/>
        <pc:sldMkLst>
          <pc:docMk/>
          <pc:sldMk cId="1813711241" sldId="293"/>
        </pc:sldMkLst>
        <pc:spChg chg="mod">
          <ac:chgData name="annaasgaraly@ibm.com" userId="" providerId="" clId="Web-{CC69BAD0-B878-4D5F-9EDC-F1CFB63E14B5}" dt="2021-08-18T18:02:20.025" v="30" actId="20577"/>
          <ac:spMkLst>
            <pc:docMk/>
            <pc:sldMk cId="1813711241" sldId="293"/>
            <ac:spMk id="3" creationId="{FC857EDD-A3A7-434D-B8D5-401E872498DA}"/>
          </ac:spMkLst>
        </pc:spChg>
      </pc:sldChg>
      <pc:sldChg chg="mod setBg">
        <pc:chgData name="annaasgaraly@ibm.com" userId="" providerId="" clId="Web-{CC69BAD0-B878-4D5F-9EDC-F1CFB63E14B5}" dt="2021-08-18T17:50:45.396" v="4"/>
        <pc:sldMkLst>
          <pc:docMk/>
          <pc:sldMk cId="1023352497" sldId="294"/>
        </pc:sldMkLst>
      </pc:sldChg>
      <pc:sldChg chg="modSp mod setBg">
        <pc:chgData name="annaasgaraly@ibm.com" userId="" providerId="" clId="Web-{CC69BAD0-B878-4D5F-9EDC-F1CFB63E14B5}" dt="2021-08-18T18:06:41.169" v="95"/>
        <pc:sldMkLst>
          <pc:docMk/>
          <pc:sldMk cId="981671777" sldId="296"/>
        </pc:sldMkLst>
        <pc:spChg chg="mod">
          <ac:chgData name="annaasgaraly@ibm.com" userId="" providerId="" clId="Web-{CC69BAD0-B878-4D5F-9EDC-F1CFB63E14B5}" dt="2021-08-18T18:03:39.203" v="50" actId="20577"/>
          <ac:spMkLst>
            <pc:docMk/>
            <pc:sldMk cId="981671777" sldId="296"/>
            <ac:spMk id="2" creationId="{54176327-8CC4-4356-8BBB-DC4965CE9857}"/>
          </ac:spMkLst>
        </pc:spChg>
      </pc:sldChg>
      <pc:sldChg chg="mod setBg">
        <pc:chgData name="annaasgaraly@ibm.com" userId="" providerId="" clId="Web-{CC69BAD0-B878-4D5F-9EDC-F1CFB63E14B5}" dt="2021-08-18T17:50:06.440" v="1"/>
        <pc:sldMkLst>
          <pc:docMk/>
          <pc:sldMk cId="3093198887" sldId="298"/>
        </pc:sldMkLst>
      </pc:sldChg>
      <pc:sldChg chg="modSp mod setBg">
        <pc:chgData name="annaasgaraly@ibm.com" userId="" providerId="" clId="Web-{CC69BAD0-B878-4D5F-9EDC-F1CFB63E14B5}" dt="2021-08-18T18:06:03.854" v="67"/>
        <pc:sldMkLst>
          <pc:docMk/>
          <pc:sldMk cId="280316088" sldId="299"/>
        </pc:sldMkLst>
        <pc:spChg chg="mod">
          <ac:chgData name="annaasgaraly@ibm.com" userId="" providerId="" clId="Web-{CC69BAD0-B878-4D5F-9EDC-F1CFB63E14B5}" dt="2021-08-18T18:01:53.336" v="23" actId="20577"/>
          <ac:spMkLst>
            <pc:docMk/>
            <pc:sldMk cId="280316088" sldId="299"/>
            <ac:spMk id="4" creationId="{5066AA34-20EE-4A59-B343-346A8DB5667C}"/>
          </ac:spMkLst>
        </pc:spChg>
      </pc:sldChg>
      <pc:sldChg chg="modSp mod setBg">
        <pc:chgData name="annaasgaraly@ibm.com" userId="" providerId="" clId="Web-{CC69BAD0-B878-4D5F-9EDC-F1CFB63E14B5}" dt="2021-08-18T18:06:04.104" v="68"/>
        <pc:sldMkLst>
          <pc:docMk/>
          <pc:sldMk cId="1385553969" sldId="302"/>
        </pc:sldMkLst>
        <pc:spChg chg="mod">
          <ac:chgData name="annaasgaraly@ibm.com" userId="" providerId="" clId="Web-{CC69BAD0-B878-4D5F-9EDC-F1CFB63E14B5}" dt="2021-08-18T18:01:58.227" v="24" actId="20577"/>
          <ac:spMkLst>
            <pc:docMk/>
            <pc:sldMk cId="1385553969" sldId="302"/>
            <ac:spMk id="11" creationId="{84F5ABFD-B4D4-43FF-959F-AFAF45B45269}"/>
          </ac:spMkLst>
        </pc:spChg>
      </pc:sldChg>
      <pc:sldChg chg="modSp mod setBg">
        <pc:chgData name="annaasgaraly@ibm.com" userId="" providerId="" clId="Web-{CC69BAD0-B878-4D5F-9EDC-F1CFB63E14B5}" dt="2021-08-18T18:06:05.307" v="73"/>
        <pc:sldMkLst>
          <pc:docMk/>
          <pc:sldMk cId="334532777" sldId="303"/>
        </pc:sldMkLst>
        <pc:spChg chg="mod">
          <ac:chgData name="annaasgaraly@ibm.com" userId="" providerId="" clId="Web-{CC69BAD0-B878-4D5F-9EDC-F1CFB63E14B5}" dt="2021-08-18T18:02:16.337" v="29" actId="20577"/>
          <ac:spMkLst>
            <pc:docMk/>
            <pc:sldMk cId="334532777" sldId="303"/>
            <ac:spMk id="3" creationId="{519FC08B-7D2E-43A5-A528-821DCDCCCC82}"/>
          </ac:spMkLst>
        </pc:spChg>
      </pc:sldChg>
      <pc:sldChg chg="modSp mod setBg">
        <pc:chgData name="annaasgaraly@ibm.com" userId="" providerId="" clId="Web-{CC69BAD0-B878-4D5F-9EDC-F1CFB63E14B5}" dt="2021-08-18T18:06:16.105" v="77"/>
        <pc:sldMkLst>
          <pc:docMk/>
          <pc:sldMk cId="3869789237" sldId="304"/>
        </pc:sldMkLst>
        <pc:spChg chg="mod">
          <ac:chgData name="annaasgaraly@ibm.com" userId="" providerId="" clId="Web-{CC69BAD0-B878-4D5F-9EDC-F1CFB63E14B5}" dt="2021-08-18T18:02:32.448" v="33" actId="20577"/>
          <ac:spMkLst>
            <pc:docMk/>
            <pc:sldMk cId="3869789237" sldId="304"/>
            <ac:spMk id="4" creationId="{B6CCD949-E788-4375-9B07-478FA5684BC1}"/>
          </ac:spMkLst>
        </pc:spChg>
      </pc:sldChg>
      <pc:sldChg chg="modSp mod setBg">
        <pc:chgData name="annaasgaraly@ibm.com" userId="" providerId="" clId="Web-{CC69BAD0-B878-4D5F-9EDC-F1CFB63E14B5}" dt="2021-08-18T18:06:16.339" v="78"/>
        <pc:sldMkLst>
          <pc:docMk/>
          <pc:sldMk cId="80090182" sldId="305"/>
        </pc:sldMkLst>
        <pc:spChg chg="mod">
          <ac:chgData name="annaasgaraly@ibm.com" userId="" providerId="" clId="Web-{CC69BAD0-B878-4D5F-9EDC-F1CFB63E14B5}" dt="2021-08-18T18:02:36.167" v="34" actId="20577"/>
          <ac:spMkLst>
            <pc:docMk/>
            <pc:sldMk cId="80090182" sldId="305"/>
            <ac:spMk id="4" creationId="{D4811A61-F7FB-4B19-9ED1-E0E2554A5BE8}"/>
          </ac:spMkLst>
        </pc:spChg>
      </pc:sldChg>
      <pc:sldChg chg="modSp mod setBg">
        <pc:chgData name="annaasgaraly@ibm.com" userId="" providerId="" clId="Web-{CC69BAD0-B878-4D5F-9EDC-F1CFB63E14B5}" dt="2021-08-18T18:06:16.792" v="80"/>
        <pc:sldMkLst>
          <pc:docMk/>
          <pc:sldMk cId="3145340593" sldId="306"/>
        </pc:sldMkLst>
        <pc:spChg chg="mod">
          <ac:chgData name="annaasgaraly@ibm.com" userId="" providerId="" clId="Web-{CC69BAD0-B878-4D5F-9EDC-F1CFB63E14B5}" dt="2021-08-18T18:02:44.230" v="36" actId="20577"/>
          <ac:spMkLst>
            <pc:docMk/>
            <pc:sldMk cId="3145340593" sldId="306"/>
            <ac:spMk id="4" creationId="{AFE7D9E4-306D-49E3-9AC4-15D566FC72AD}"/>
          </ac:spMkLst>
        </pc:spChg>
      </pc:sldChg>
      <pc:sldChg chg="modSp mod setBg">
        <pc:chgData name="annaasgaraly@ibm.com" userId="" providerId="" clId="Web-{CC69BAD0-B878-4D5F-9EDC-F1CFB63E14B5}" dt="2021-08-18T18:06:16.574" v="79"/>
        <pc:sldMkLst>
          <pc:docMk/>
          <pc:sldMk cId="1106727586" sldId="307"/>
        </pc:sldMkLst>
        <pc:spChg chg="mod">
          <ac:chgData name="annaasgaraly@ibm.com" userId="" providerId="" clId="Web-{CC69BAD0-B878-4D5F-9EDC-F1CFB63E14B5}" dt="2021-08-18T18:02:39.823" v="35" actId="20577"/>
          <ac:spMkLst>
            <pc:docMk/>
            <pc:sldMk cId="1106727586" sldId="307"/>
            <ac:spMk id="4" creationId="{021C109C-C017-4D19-928F-AED25AC30125}"/>
          </ac:spMkLst>
        </pc:spChg>
      </pc:sldChg>
      <pc:sldChg chg="modSp mod setBg">
        <pc:chgData name="annaasgaraly@ibm.com" userId="" providerId="" clId="Web-{CC69BAD0-B878-4D5F-9EDC-F1CFB63E14B5}" dt="2021-08-18T18:06:17.011" v="81"/>
        <pc:sldMkLst>
          <pc:docMk/>
          <pc:sldMk cId="706594483" sldId="308"/>
        </pc:sldMkLst>
        <pc:spChg chg="mod">
          <ac:chgData name="annaasgaraly@ibm.com" userId="" providerId="" clId="Web-{CC69BAD0-B878-4D5F-9EDC-F1CFB63E14B5}" dt="2021-08-18T18:02:47.433" v="37" actId="20577"/>
          <ac:spMkLst>
            <pc:docMk/>
            <pc:sldMk cId="706594483" sldId="308"/>
            <ac:spMk id="4" creationId="{6D35FD2D-1BD2-45D7-B015-1A96C241520B}"/>
          </ac:spMkLst>
        </pc:spChg>
      </pc:sldChg>
      <pc:sldChg chg="modSp mod setBg">
        <pc:chgData name="annaasgaraly@ibm.com" userId="" providerId="" clId="Web-{CC69BAD0-B878-4D5F-9EDC-F1CFB63E14B5}" dt="2021-08-18T18:06:30.090" v="83"/>
        <pc:sldMkLst>
          <pc:docMk/>
          <pc:sldMk cId="1794738657" sldId="309"/>
        </pc:sldMkLst>
        <pc:spChg chg="mod">
          <ac:chgData name="annaasgaraly@ibm.com" userId="" providerId="" clId="Web-{CC69BAD0-B878-4D5F-9EDC-F1CFB63E14B5}" dt="2021-08-18T18:03:04.872" v="39" actId="20577"/>
          <ac:spMkLst>
            <pc:docMk/>
            <pc:sldMk cId="1794738657" sldId="309"/>
            <ac:spMk id="3" creationId="{557C8CBA-1A0E-4CDF-A451-7AAA44D39839}"/>
          </ac:spMkLst>
        </pc:spChg>
      </pc:sldChg>
      <pc:sldChg chg="modSp mod setBg">
        <pc:chgData name="annaasgaraly@ibm.com" userId="" providerId="" clId="Web-{CC69BAD0-B878-4D5F-9EDC-F1CFB63E14B5}" dt="2021-08-18T18:06:30.309" v="84"/>
        <pc:sldMkLst>
          <pc:docMk/>
          <pc:sldMk cId="4010014743" sldId="310"/>
        </pc:sldMkLst>
        <pc:spChg chg="mod">
          <ac:chgData name="annaasgaraly@ibm.com" userId="" providerId="" clId="Web-{CC69BAD0-B878-4D5F-9EDC-F1CFB63E14B5}" dt="2021-08-18T18:03:08.919" v="40" actId="20577"/>
          <ac:spMkLst>
            <pc:docMk/>
            <pc:sldMk cId="4010014743" sldId="310"/>
            <ac:spMk id="3" creationId="{FD161C47-0660-416F-B4C2-25E4D35D69FD}"/>
          </ac:spMkLst>
        </pc:spChg>
      </pc:sldChg>
      <pc:sldChg chg="modSp mod setBg">
        <pc:chgData name="annaasgaraly@ibm.com" userId="" providerId="" clId="Web-{CC69BAD0-B878-4D5F-9EDC-F1CFB63E14B5}" dt="2021-08-18T18:06:30.528" v="85"/>
        <pc:sldMkLst>
          <pc:docMk/>
          <pc:sldMk cId="2735560525" sldId="311"/>
        </pc:sldMkLst>
        <pc:spChg chg="mod">
          <ac:chgData name="annaasgaraly@ibm.com" userId="" providerId="" clId="Web-{CC69BAD0-B878-4D5F-9EDC-F1CFB63E14B5}" dt="2021-08-18T18:03:12.388" v="41" actId="20577"/>
          <ac:spMkLst>
            <pc:docMk/>
            <pc:sldMk cId="2735560525" sldId="311"/>
            <ac:spMk id="3" creationId="{AFD52E17-48CB-4D60-BD56-71D197A29B38}"/>
          </ac:spMkLst>
        </pc:spChg>
      </pc:sldChg>
      <pc:sldChg chg="modSp mod setBg">
        <pc:chgData name="annaasgaraly@ibm.com" userId="" providerId="" clId="Web-{CC69BAD0-B878-4D5F-9EDC-F1CFB63E14B5}" dt="2021-08-18T18:06:30.762" v="86"/>
        <pc:sldMkLst>
          <pc:docMk/>
          <pc:sldMk cId="1434679925" sldId="312"/>
        </pc:sldMkLst>
        <pc:spChg chg="mod">
          <ac:chgData name="annaasgaraly@ibm.com" userId="" providerId="" clId="Web-{CC69BAD0-B878-4D5F-9EDC-F1CFB63E14B5}" dt="2021-08-18T18:03:16.498" v="43" actId="20577"/>
          <ac:spMkLst>
            <pc:docMk/>
            <pc:sldMk cId="1434679925" sldId="312"/>
            <ac:spMk id="3" creationId="{7F12CD3C-55B3-4129-817A-84D0B28F713E}"/>
          </ac:spMkLst>
        </pc:spChg>
      </pc:sldChg>
      <pc:sldChg chg="modSp mod setBg">
        <pc:chgData name="annaasgaraly@ibm.com" userId="" providerId="" clId="Web-{CC69BAD0-B878-4D5F-9EDC-F1CFB63E14B5}" dt="2021-08-18T18:06:31.231" v="88"/>
        <pc:sldMkLst>
          <pc:docMk/>
          <pc:sldMk cId="1756972646" sldId="313"/>
        </pc:sldMkLst>
        <pc:spChg chg="mod">
          <ac:chgData name="annaasgaraly@ibm.com" userId="" providerId="" clId="Web-{CC69BAD0-B878-4D5F-9EDC-F1CFB63E14B5}" dt="2021-08-18T18:03:25.624" v="45" actId="20577"/>
          <ac:spMkLst>
            <pc:docMk/>
            <pc:sldMk cId="1756972646" sldId="313"/>
            <ac:spMk id="3" creationId="{79B32320-42D4-49FA-8047-C080B444B3AE}"/>
          </ac:spMkLst>
        </pc:spChg>
      </pc:sldChg>
      <pc:sldChg chg="modSp mod setBg">
        <pc:chgData name="annaasgaraly@ibm.com" userId="" providerId="" clId="Web-{CC69BAD0-B878-4D5F-9EDC-F1CFB63E14B5}" dt="2021-08-18T18:06:30.997" v="87"/>
        <pc:sldMkLst>
          <pc:docMk/>
          <pc:sldMk cId="639399535" sldId="314"/>
        </pc:sldMkLst>
        <pc:spChg chg="mod">
          <ac:chgData name="annaasgaraly@ibm.com" userId="" providerId="" clId="Web-{CC69BAD0-B878-4D5F-9EDC-F1CFB63E14B5}" dt="2021-08-18T18:03:19.357" v="44" actId="20577"/>
          <ac:spMkLst>
            <pc:docMk/>
            <pc:sldMk cId="639399535" sldId="314"/>
            <ac:spMk id="8" creationId="{952C2E9C-C6BE-40BD-A406-CFB441363CBA}"/>
          </ac:spMkLst>
        </pc:spChg>
      </pc:sldChg>
      <pc:sldChg chg="modSp mod setBg">
        <pc:chgData name="annaasgaraly@ibm.com" userId="" providerId="" clId="Web-{CC69BAD0-B878-4D5F-9EDC-F1CFB63E14B5}" dt="2021-08-18T18:06:31.465" v="89"/>
        <pc:sldMkLst>
          <pc:docMk/>
          <pc:sldMk cId="3566646398" sldId="315"/>
        </pc:sldMkLst>
        <pc:spChg chg="mod">
          <ac:chgData name="annaasgaraly@ibm.com" userId="" providerId="" clId="Web-{CC69BAD0-B878-4D5F-9EDC-F1CFB63E14B5}" dt="2021-08-18T18:03:29.249" v="46" actId="20577"/>
          <ac:spMkLst>
            <pc:docMk/>
            <pc:sldMk cId="3566646398" sldId="315"/>
            <ac:spMk id="3" creationId="{2A7EB98F-A25F-4357-9775-478FC17F7F83}"/>
          </ac:spMkLst>
        </pc:spChg>
      </pc:sldChg>
      <pc:sldChg chg="modSp mod setBg">
        <pc:chgData name="annaasgaraly@ibm.com" userId="" providerId="" clId="Web-{CC69BAD0-B878-4D5F-9EDC-F1CFB63E14B5}" dt="2021-08-18T18:06:31.684" v="90"/>
        <pc:sldMkLst>
          <pc:docMk/>
          <pc:sldMk cId="1398439132" sldId="316"/>
        </pc:sldMkLst>
        <pc:spChg chg="mod">
          <ac:chgData name="annaasgaraly@ibm.com" userId="" providerId="" clId="Web-{CC69BAD0-B878-4D5F-9EDC-F1CFB63E14B5}" dt="2021-08-18T18:03:33.077" v="48" actId="20577"/>
          <ac:spMkLst>
            <pc:docMk/>
            <pc:sldMk cId="1398439132" sldId="316"/>
            <ac:spMk id="3" creationId="{964DA114-677C-40D8-8FFA-43531834CFBF}"/>
          </ac:spMkLst>
        </pc:spChg>
      </pc:sldChg>
      <pc:sldChg chg="modSp mod setBg">
        <pc:chgData name="annaasgaraly@ibm.com" userId="" providerId="" clId="Web-{CC69BAD0-B878-4D5F-9EDC-F1CFB63E14B5}" dt="2021-08-18T18:06:31.924" v="91"/>
        <pc:sldMkLst>
          <pc:docMk/>
          <pc:sldMk cId="3975168428" sldId="317"/>
        </pc:sldMkLst>
        <pc:spChg chg="mod">
          <ac:chgData name="annaasgaraly@ibm.com" userId="" providerId="" clId="Web-{CC69BAD0-B878-4D5F-9EDC-F1CFB63E14B5}" dt="2021-08-18T18:03:35.999" v="49" actId="20577"/>
          <ac:spMkLst>
            <pc:docMk/>
            <pc:sldMk cId="3975168428" sldId="317"/>
            <ac:spMk id="3" creationId="{04523243-E4D6-45EC-97C8-D44398FB7417}"/>
          </ac:spMkLst>
        </pc:spChg>
      </pc:sldChg>
      <pc:sldChg chg="modSp mod setBg">
        <pc:chgData name="annaasgaraly@ibm.com" userId="" providerId="" clId="Web-{CC69BAD0-B878-4D5F-9EDC-F1CFB63E14B5}" dt="2021-08-18T18:06:40.716" v="93"/>
        <pc:sldMkLst>
          <pc:docMk/>
          <pc:sldMk cId="239597884" sldId="318"/>
        </pc:sldMkLst>
        <pc:spChg chg="mod">
          <ac:chgData name="annaasgaraly@ibm.com" userId="" providerId="" clId="Web-{CC69BAD0-B878-4D5F-9EDC-F1CFB63E14B5}" dt="2021-08-18T18:03:41.906" v="51" actId="20577"/>
          <ac:spMkLst>
            <pc:docMk/>
            <pc:sldMk cId="239597884" sldId="318"/>
            <ac:spMk id="8" creationId="{2E0ECA32-E146-40DA-85CD-9677244BC3EC}"/>
          </ac:spMkLst>
        </pc:spChg>
      </pc:sldChg>
      <pc:sldChg chg="modSp mod setBg">
        <pc:chgData name="annaasgaraly@ibm.com" userId="" providerId="" clId="Web-{CC69BAD0-B878-4D5F-9EDC-F1CFB63E14B5}" dt="2021-08-18T18:06:40.950" v="94"/>
        <pc:sldMkLst>
          <pc:docMk/>
          <pc:sldMk cId="232499080" sldId="319"/>
        </pc:sldMkLst>
        <pc:spChg chg="mod">
          <ac:chgData name="annaasgaraly@ibm.com" userId="" providerId="" clId="Web-{CC69BAD0-B878-4D5F-9EDC-F1CFB63E14B5}" dt="2021-08-18T18:03:44.922" v="52" actId="20577"/>
          <ac:spMkLst>
            <pc:docMk/>
            <pc:sldMk cId="232499080" sldId="319"/>
            <ac:spMk id="8" creationId="{34C97452-C78A-4701-B8AB-ABFE63D5BEDE}"/>
          </ac:spMkLst>
        </pc:spChg>
      </pc:sldChg>
      <pc:sldChg chg="modSp mod setBg">
        <pc:chgData name="annaasgaraly@ibm.com" userId="" providerId="" clId="Web-{CC69BAD0-B878-4D5F-9EDC-F1CFB63E14B5}" dt="2021-08-18T18:06:57.123" v="99"/>
        <pc:sldMkLst>
          <pc:docMk/>
          <pc:sldMk cId="3645034231" sldId="320"/>
        </pc:sldMkLst>
        <pc:spChg chg="mod">
          <ac:chgData name="annaasgaraly@ibm.com" userId="" providerId="" clId="Web-{CC69BAD0-B878-4D5F-9EDC-F1CFB63E14B5}" dt="2021-08-18T18:04:07.830" v="57" actId="20577"/>
          <ac:spMkLst>
            <pc:docMk/>
            <pc:sldMk cId="3645034231" sldId="320"/>
            <ac:spMk id="9" creationId="{533106AC-60D7-46AE-8E64-7B84ABDBD099}"/>
          </ac:spMkLst>
        </pc:spChg>
      </pc:sldChg>
      <pc:sldChg chg="mod setBg">
        <pc:chgData name="annaasgaraly@ibm.com" userId="" providerId="" clId="Web-{CC69BAD0-B878-4D5F-9EDC-F1CFB63E14B5}" dt="2021-08-18T17:50:55.553" v="5"/>
        <pc:sldMkLst>
          <pc:docMk/>
          <pc:sldMk cId="733461713" sldId="321"/>
        </pc:sldMkLst>
      </pc:sldChg>
      <pc:sldChg chg="modSp mod setBg">
        <pc:chgData name="annaasgaraly@ibm.com" userId="" providerId="" clId="Web-{CC69BAD0-B878-4D5F-9EDC-F1CFB63E14B5}" dt="2021-08-18T18:06:49.263" v="98"/>
        <pc:sldMkLst>
          <pc:docMk/>
          <pc:sldMk cId="700132931" sldId="322"/>
        </pc:sldMkLst>
        <pc:spChg chg="mod">
          <ac:chgData name="annaasgaraly@ibm.com" userId="" providerId="" clId="Web-{CC69BAD0-B878-4D5F-9EDC-F1CFB63E14B5}" dt="2021-08-18T18:03:48.453" v="53" actId="20577"/>
          <ac:spMkLst>
            <pc:docMk/>
            <pc:sldMk cId="700132931" sldId="322"/>
            <ac:spMk id="8" creationId="{9456A072-47A6-4424-9ABE-F398119040DD}"/>
          </ac:spMkLst>
        </pc:spChg>
      </pc:sldChg>
      <pc:sldChg chg="modSp mod setBg">
        <pc:chgData name="annaasgaraly@ibm.com" userId="" providerId="" clId="Web-{CC69BAD0-B878-4D5F-9EDC-F1CFB63E14B5}" dt="2021-08-18T18:06:48.795" v="96"/>
        <pc:sldMkLst>
          <pc:docMk/>
          <pc:sldMk cId="1866160706" sldId="323"/>
        </pc:sldMkLst>
        <pc:spChg chg="mod">
          <ac:chgData name="annaasgaraly@ibm.com" userId="" providerId="" clId="Web-{CC69BAD0-B878-4D5F-9EDC-F1CFB63E14B5}" dt="2021-08-18T18:03:52.626" v="54" actId="20577"/>
          <ac:spMkLst>
            <pc:docMk/>
            <pc:sldMk cId="1866160706" sldId="323"/>
            <ac:spMk id="8" creationId="{4EF94599-779E-457E-B57B-6063EBF7A840}"/>
          </ac:spMkLst>
        </pc:spChg>
      </pc:sldChg>
      <pc:sldChg chg="modSp mod setBg">
        <pc:chgData name="annaasgaraly@ibm.com" userId="" providerId="" clId="Web-{CC69BAD0-B878-4D5F-9EDC-F1CFB63E14B5}" dt="2021-08-18T18:06:49.029" v="97"/>
        <pc:sldMkLst>
          <pc:docMk/>
          <pc:sldMk cId="252359608" sldId="324"/>
        </pc:sldMkLst>
        <pc:spChg chg="mod">
          <ac:chgData name="annaasgaraly@ibm.com" userId="" providerId="" clId="Web-{CC69BAD0-B878-4D5F-9EDC-F1CFB63E14B5}" dt="2021-08-18T18:03:58.220" v="55" actId="20577"/>
          <ac:spMkLst>
            <pc:docMk/>
            <pc:sldMk cId="252359608" sldId="324"/>
            <ac:spMk id="12" creationId="{4D271BF5-BAA1-4CEB-A575-76A097FABBBA}"/>
          </ac:spMkLst>
        </pc:spChg>
      </pc:sldChg>
      <pc:sldChg chg="addSp modSp">
        <pc:chgData name="annaasgaraly@ibm.com" userId="" providerId="" clId="Web-{CC69BAD0-B878-4D5F-9EDC-F1CFB63E14B5}" dt="2021-08-18T18:00:11.344" v="12" actId="14100"/>
        <pc:sldMkLst>
          <pc:docMk/>
          <pc:sldMk cId="1277611629" sldId="327"/>
        </pc:sldMkLst>
        <pc:picChg chg="add mod">
          <ac:chgData name="annaasgaraly@ibm.com" userId="" providerId="" clId="Web-{CC69BAD0-B878-4D5F-9EDC-F1CFB63E14B5}" dt="2021-08-18T18:00:11.344" v="12" actId="14100"/>
          <ac:picMkLst>
            <pc:docMk/>
            <pc:sldMk cId="1277611629" sldId="327"/>
            <ac:picMk id="2" creationId="{4F94DBE5-2DCC-401E-95AA-12E04A97FBA6}"/>
          </ac:picMkLst>
        </pc:picChg>
      </pc:sldChg>
      <pc:sldChg chg="mod setBg">
        <pc:chgData name="annaasgaraly@ibm.com" userId="" providerId="" clId="Web-{CC69BAD0-B878-4D5F-9EDC-F1CFB63E14B5}" dt="2021-08-18T17:51:14.820" v="7"/>
        <pc:sldMkLst>
          <pc:docMk/>
          <pc:sldMk cId="661040741" sldId="329"/>
        </pc:sldMkLst>
      </pc:sldChg>
      <pc:sldChg chg="modSp mod setBg">
        <pc:chgData name="annaasgaraly@ibm.com" userId="" providerId="" clId="Web-{CC69BAD0-B878-4D5F-9EDC-F1CFB63E14B5}" dt="2021-08-18T18:05:53.681" v="65"/>
        <pc:sldMkLst>
          <pc:docMk/>
          <pc:sldMk cId="724038033" sldId="330"/>
        </pc:sldMkLst>
        <pc:spChg chg="mod">
          <ac:chgData name="annaasgaraly@ibm.com" userId="" providerId="" clId="Web-{CC69BAD0-B878-4D5F-9EDC-F1CFB63E14B5}" dt="2021-08-18T18:01:02.207" v="16" actId="20577"/>
          <ac:spMkLst>
            <pc:docMk/>
            <pc:sldMk cId="724038033" sldId="330"/>
            <ac:spMk id="19" creationId="{6CA66F18-AF00-434A-AB3C-61097BEAE5FA}"/>
          </ac:spMkLst>
        </pc:spChg>
      </pc:sldChg>
      <pc:sldChg chg="modSp mod setBg">
        <pc:chgData name="annaasgaraly@ibm.com" userId="" providerId="" clId="Web-{CC69BAD0-B878-4D5F-9EDC-F1CFB63E14B5}" dt="2021-08-18T18:05:53.463" v="64"/>
        <pc:sldMkLst>
          <pc:docMk/>
          <pc:sldMk cId="1980221439" sldId="331"/>
        </pc:sldMkLst>
        <pc:spChg chg="mod">
          <ac:chgData name="annaasgaraly@ibm.com" userId="" providerId="" clId="Web-{CC69BAD0-B878-4D5F-9EDC-F1CFB63E14B5}" dt="2021-08-18T18:01:34.631" v="17" actId="20577"/>
          <ac:spMkLst>
            <pc:docMk/>
            <pc:sldMk cId="1980221439" sldId="331"/>
            <ac:spMk id="19" creationId="{6CA66F18-AF00-434A-AB3C-61097BEAE5FA}"/>
          </ac:spMkLst>
        </pc:spChg>
      </pc:sldChg>
      <pc:sldChg chg="modSp mod setBg">
        <pc:chgData name="annaasgaraly@ibm.com" userId="" providerId="" clId="Web-{CC69BAD0-B878-4D5F-9EDC-F1CFB63E14B5}" dt="2021-08-18T18:05:53.228" v="63"/>
        <pc:sldMkLst>
          <pc:docMk/>
          <pc:sldMk cId="2560061391" sldId="332"/>
        </pc:sldMkLst>
        <pc:spChg chg="mod">
          <ac:chgData name="annaasgaraly@ibm.com" userId="" providerId="" clId="Web-{CC69BAD0-B878-4D5F-9EDC-F1CFB63E14B5}" dt="2021-08-18T18:01:38.944" v="18" actId="20577"/>
          <ac:spMkLst>
            <pc:docMk/>
            <pc:sldMk cId="2560061391" sldId="332"/>
            <ac:spMk id="19" creationId="{6CA66F18-AF00-434A-AB3C-61097BEAE5FA}"/>
          </ac:spMkLst>
        </pc:spChg>
      </pc:sldChg>
    </pc:docChg>
  </pc:docChgLst>
  <pc:docChgLst>
    <pc:chgData name="Ada Celik" clId="Web-{998F4E3E-1A76-4A6B-98B6-08752F3768B3}"/>
    <pc:docChg chg="modSld">
      <pc:chgData name="Ada Celik" userId="" providerId="" clId="Web-{998F4E3E-1A76-4A6B-98B6-08752F3768B3}" dt="2021-08-10T21:41:11.021" v="1" actId="20577"/>
      <pc:docMkLst>
        <pc:docMk/>
      </pc:docMkLst>
      <pc:sldChg chg="modSp">
        <pc:chgData name="Ada Celik" userId="" providerId="" clId="Web-{998F4E3E-1A76-4A6B-98B6-08752F3768B3}" dt="2021-08-10T21:41:11.021" v="1" actId="20577"/>
        <pc:sldMkLst>
          <pc:docMk/>
          <pc:sldMk cId="1277611629" sldId="327"/>
        </pc:sldMkLst>
        <pc:spChg chg="mod">
          <ac:chgData name="Ada Celik" userId="" providerId="" clId="Web-{998F4E3E-1A76-4A6B-98B6-08752F3768B3}" dt="2021-08-10T21:41:11.021" v="1" actId="20577"/>
          <ac:spMkLst>
            <pc:docMk/>
            <pc:sldMk cId="1277611629" sldId="327"/>
            <ac:spMk id="6" creationId="{2C36AF9D-A911-994B-90EA-013D4CDA5604}"/>
          </ac:spMkLst>
        </pc:spChg>
      </pc:sldChg>
    </pc:docChg>
  </pc:docChgLst>
  <pc:docChgLst>
    <pc:chgData name="Ada Celik" clId="Web-{9F30A1D2-6717-426C-A658-3A50309723ED}"/>
    <pc:docChg chg="modSld">
      <pc:chgData name="Ada Celik" userId="" providerId="" clId="Web-{9F30A1D2-6717-426C-A658-3A50309723ED}" dt="2021-08-10T21:42:35.526" v="3"/>
      <pc:docMkLst>
        <pc:docMk/>
      </pc:docMkLst>
      <pc:sldChg chg="delSp">
        <pc:chgData name="Ada Celik" userId="" providerId="" clId="Web-{9F30A1D2-6717-426C-A658-3A50309723ED}" dt="2021-08-10T21:42:35.526" v="3"/>
        <pc:sldMkLst>
          <pc:docMk/>
          <pc:sldMk cId="661040741" sldId="329"/>
        </pc:sldMkLst>
        <pc:picChg chg="del">
          <ac:chgData name="Ada Celik" userId="" providerId="" clId="Web-{9F30A1D2-6717-426C-A658-3A50309723ED}" dt="2021-08-10T21:42:35.526" v="3"/>
          <ac:picMkLst>
            <pc:docMk/>
            <pc:sldMk cId="661040741" sldId="329"/>
            <ac:picMk id="8" creationId="{F88AB437-E43C-436D-B35E-51887C103800}"/>
          </ac:picMkLst>
        </pc:picChg>
        <pc:picChg chg="del">
          <ac:chgData name="Ada Celik" userId="" providerId="" clId="Web-{9F30A1D2-6717-426C-A658-3A50309723ED}" dt="2021-08-10T21:42:35.526" v="2"/>
          <ac:picMkLst>
            <pc:docMk/>
            <pc:sldMk cId="661040741" sldId="329"/>
            <ac:picMk id="9" creationId="{89FBF71A-DDF5-4BAA-B9B5-91B4675FF80E}"/>
          </ac:picMkLst>
        </pc:picChg>
        <pc:picChg chg="del">
          <ac:chgData name="Ada Celik" userId="" providerId="" clId="Web-{9F30A1D2-6717-426C-A658-3A50309723ED}" dt="2021-08-10T21:42:35.526" v="1"/>
          <ac:picMkLst>
            <pc:docMk/>
            <pc:sldMk cId="661040741" sldId="329"/>
            <ac:picMk id="10" creationId="{225AE237-9A47-4E0B-AE8A-DD0CED30B39D}"/>
          </ac:picMkLst>
        </pc:picChg>
        <pc:picChg chg="del">
          <ac:chgData name="Ada Celik" userId="" providerId="" clId="Web-{9F30A1D2-6717-426C-A658-3A50309723ED}" dt="2021-08-10T21:42:35.526" v="0"/>
          <ac:picMkLst>
            <pc:docMk/>
            <pc:sldMk cId="661040741" sldId="329"/>
            <ac:picMk id="11" creationId="{E1021DDF-7C74-4FD8-AE38-AFFCC057C8C2}"/>
          </ac:picMkLst>
        </pc:picChg>
      </pc:sldChg>
    </pc:docChg>
  </pc:docChgLst>
  <pc:docChgLst>
    <pc:chgData name="YAN LUO" clId="Web-{B63C8988-E1D3-4A52-8229-FA8C5EBD2ECD}"/>
    <pc:docChg chg="delSld modSld">
      <pc:chgData name="YAN LUO" userId="" providerId="" clId="Web-{B63C8988-E1D3-4A52-8229-FA8C5EBD2ECD}" dt="2021-08-19T14:01:44.876" v="206" actId="20577"/>
      <pc:docMkLst>
        <pc:docMk/>
      </pc:docMkLst>
      <pc:sldChg chg="modSp">
        <pc:chgData name="YAN LUO" userId="" providerId="" clId="Web-{B63C8988-E1D3-4A52-8229-FA8C5EBD2ECD}" dt="2021-08-19T13:47:23.458" v="93" actId="20577"/>
        <pc:sldMkLst>
          <pc:docMk/>
          <pc:sldMk cId="1578726356" sldId="265"/>
        </pc:sldMkLst>
        <pc:spChg chg="mod">
          <ac:chgData name="YAN LUO" userId="" providerId="" clId="Web-{B63C8988-E1D3-4A52-8229-FA8C5EBD2ECD}" dt="2021-08-19T13:47:23.458" v="93" actId="20577"/>
          <ac:spMkLst>
            <pc:docMk/>
            <pc:sldMk cId="1578726356" sldId="265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3:46:56.520" v="49" actId="20577"/>
        <pc:sldMkLst>
          <pc:docMk/>
          <pc:sldMk cId="779971636" sldId="266"/>
        </pc:sldMkLst>
        <pc:spChg chg="mod">
          <ac:chgData name="YAN LUO" userId="" providerId="" clId="Web-{B63C8988-E1D3-4A52-8229-FA8C5EBD2ECD}" dt="2021-08-19T13:46:56.520" v="49" actId="20577"/>
          <ac:spMkLst>
            <pc:docMk/>
            <pc:sldMk cId="779971636" sldId="266"/>
            <ac:spMk id="5" creationId="{1B07C49E-AFFC-EC46-8930-E4D428F5F943}"/>
          </ac:spMkLst>
        </pc:spChg>
      </pc:sldChg>
      <pc:sldChg chg="del">
        <pc:chgData name="YAN LUO" userId="" providerId="" clId="Web-{B63C8988-E1D3-4A52-8229-FA8C5EBD2ECD}" dt="2021-08-19T13:52:20.775" v="94"/>
        <pc:sldMkLst>
          <pc:docMk/>
          <pc:sldMk cId="3181088097" sldId="278"/>
        </pc:sldMkLst>
      </pc:sldChg>
      <pc:sldChg chg="addSp delSp modSp">
        <pc:chgData name="YAN LUO" userId="" providerId="" clId="Web-{B63C8988-E1D3-4A52-8229-FA8C5EBD2ECD}" dt="2021-08-19T13:45:42.691" v="30" actId="20577"/>
        <pc:sldMkLst>
          <pc:docMk/>
          <pc:sldMk cId="280316088" sldId="299"/>
        </pc:sldMkLst>
        <pc:spChg chg="add del mod ord">
          <ac:chgData name="YAN LUO" userId="" providerId="" clId="Web-{B63C8988-E1D3-4A52-8229-FA8C5EBD2ECD}" dt="2021-08-19T13:21:31.149" v="16"/>
          <ac:spMkLst>
            <pc:docMk/>
            <pc:sldMk cId="280316088" sldId="299"/>
            <ac:spMk id="2" creationId="{310FB1D8-F945-4835-A7ED-A9DCB8CE099D}"/>
          </ac:spMkLst>
        </pc:spChg>
        <pc:spChg chg="mod">
          <ac:chgData name="YAN LUO" userId="" providerId="" clId="Web-{B63C8988-E1D3-4A52-8229-FA8C5EBD2ECD}" dt="2021-08-19T13:45:42.691" v="30" actId="20577"/>
          <ac:spMkLst>
            <pc:docMk/>
            <pc:sldMk cId="280316088" sldId="299"/>
            <ac:spMk id="5" creationId="{1B07C49E-AFFC-EC46-8930-E4D428F5F943}"/>
          </ac:spMkLst>
        </pc:spChg>
      </pc:sldChg>
      <pc:sldChg chg="addSp delSp modSp">
        <pc:chgData name="YAN LUO" userId="" providerId="" clId="Web-{B63C8988-E1D3-4A52-8229-FA8C5EBD2ECD}" dt="2021-08-19T13:53:50.338" v="96" actId="20577"/>
        <pc:sldMkLst>
          <pc:docMk/>
          <pc:sldMk cId="1385553969" sldId="302"/>
        </pc:sldMkLst>
        <pc:spChg chg="add mod">
          <ac:chgData name="YAN LUO" userId="" providerId="" clId="Web-{B63C8988-E1D3-4A52-8229-FA8C5EBD2ECD}" dt="2021-08-19T13:53:50.338" v="96" actId="20577"/>
          <ac:spMkLst>
            <pc:docMk/>
            <pc:sldMk cId="1385553969" sldId="302"/>
            <ac:spMk id="2" creationId="{8B78C759-C687-440F-8CAE-D3071F1AB630}"/>
          </ac:spMkLst>
        </pc:spChg>
        <pc:spChg chg="mod">
          <ac:chgData name="YAN LUO" userId="" providerId="" clId="Web-{B63C8988-E1D3-4A52-8229-FA8C5EBD2ECD}" dt="2021-08-19T13:46:07.426" v="35" actId="20577"/>
          <ac:spMkLst>
            <pc:docMk/>
            <pc:sldMk cId="1385553969" sldId="302"/>
            <ac:spMk id="3" creationId="{AB0AB2AC-B7E6-6849-9AE9-697369407F8F}"/>
          </ac:spMkLst>
        </pc:spChg>
        <pc:spChg chg="add del">
          <ac:chgData name="YAN LUO" userId="" providerId="" clId="Web-{B63C8988-E1D3-4A52-8229-FA8C5EBD2ECD}" dt="2021-08-19T13:46:27.739" v="39"/>
          <ac:spMkLst>
            <pc:docMk/>
            <pc:sldMk cId="1385553969" sldId="302"/>
            <ac:spMk id="5" creationId="{B2BB333C-3C82-48BA-A090-59BE99C64735}"/>
          </ac:spMkLst>
        </pc:spChg>
        <pc:spChg chg="del">
          <ac:chgData name="YAN LUO" userId="" providerId="" clId="Web-{B63C8988-E1D3-4A52-8229-FA8C5EBD2ECD}" dt="2021-08-19T13:46:24.129" v="36"/>
          <ac:spMkLst>
            <pc:docMk/>
            <pc:sldMk cId="1385553969" sldId="302"/>
            <ac:spMk id="15" creationId="{302614DC-FBA1-44E3-9E89-23C80E7E6998}"/>
          </ac:spMkLst>
        </pc:spChg>
      </pc:sldChg>
      <pc:sldChg chg="modSp">
        <pc:chgData name="YAN LUO" userId="" providerId="" clId="Web-{B63C8988-E1D3-4A52-8229-FA8C5EBD2ECD}" dt="2021-08-19T13:55:45.293" v="141" actId="20577"/>
        <pc:sldMkLst>
          <pc:docMk/>
          <pc:sldMk cId="1434679925" sldId="312"/>
        </pc:sldMkLst>
        <pc:spChg chg="mod">
          <ac:chgData name="YAN LUO" userId="" providerId="" clId="Web-{B63C8988-E1D3-4A52-8229-FA8C5EBD2ECD}" dt="2021-08-19T13:55:45.293" v="141" actId="20577"/>
          <ac:spMkLst>
            <pc:docMk/>
            <pc:sldMk cId="1434679925" sldId="312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3:56:18.809" v="184" actId="20577"/>
        <pc:sldMkLst>
          <pc:docMk/>
          <pc:sldMk cId="639399535" sldId="314"/>
        </pc:sldMkLst>
        <pc:spChg chg="mod">
          <ac:chgData name="YAN LUO" userId="" providerId="" clId="Web-{B63C8988-E1D3-4A52-8229-FA8C5EBD2ECD}" dt="2021-08-19T13:56:18.809" v="184" actId="20577"/>
          <ac:spMkLst>
            <pc:docMk/>
            <pc:sldMk cId="639399535" sldId="314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4:01:44.876" v="206" actId="20577"/>
        <pc:sldMkLst>
          <pc:docMk/>
          <pc:sldMk cId="1398439132" sldId="316"/>
        </pc:sldMkLst>
        <pc:spChg chg="mod">
          <ac:chgData name="YAN LUO" userId="" providerId="" clId="Web-{B63C8988-E1D3-4A52-8229-FA8C5EBD2ECD}" dt="2021-08-19T14:01:44.876" v="206" actId="20577"/>
          <ac:spMkLst>
            <pc:docMk/>
            <pc:sldMk cId="1398439132" sldId="316"/>
            <ac:spMk id="5" creationId="{1B07C49E-AFFC-EC46-8930-E4D428F5F943}"/>
          </ac:spMkLst>
        </pc:spChg>
      </pc:sldChg>
    </pc:docChg>
  </pc:docChgLst>
  <pc:docChgLst>
    <pc:chgData name="annaasgaraly@ibm.com" clId="Web-{3BA0D230-C853-4667-83F9-D85E65BD4B24}"/>
    <pc:docChg chg="modSld">
      <pc:chgData name="annaasgaraly@ibm.com" userId="" providerId="" clId="Web-{3BA0D230-C853-4667-83F9-D85E65BD4B24}" dt="2021-08-19T16:32:24.566" v="1"/>
      <pc:docMkLst>
        <pc:docMk/>
      </pc:docMkLst>
      <pc:sldChg chg="mod setBg">
        <pc:chgData name="annaasgaraly@ibm.com" userId="" providerId="" clId="Web-{3BA0D230-C853-4667-83F9-D85E65BD4B24}" dt="2021-08-19T16:32:24.566" v="1"/>
        <pc:sldMkLst>
          <pc:docMk/>
          <pc:sldMk cId="178270660" sldId="284"/>
        </pc:sldMkLst>
      </pc:sldChg>
      <pc:sldChg chg="mod setBg">
        <pc:chgData name="annaasgaraly@ibm.com" userId="" providerId="" clId="Web-{3BA0D230-C853-4667-83F9-D85E65BD4B24}" dt="2021-08-19T16:32:07.268" v="0"/>
        <pc:sldMkLst>
          <pc:docMk/>
          <pc:sldMk cId="1023352497" sldId="294"/>
        </pc:sldMkLst>
      </pc:sldChg>
    </pc:docChg>
  </pc:docChgLst>
  <pc:docChgLst>
    <pc:chgData name="YAN LUO" clId="Web-{86B35720-4193-446F-B2D5-9AD9984A55EF}"/>
    <pc:docChg chg="modSld">
      <pc:chgData name="YAN LUO" userId="" providerId="" clId="Web-{86B35720-4193-446F-B2D5-9AD9984A55EF}" dt="2021-08-19T14:59:05.021" v="263" actId="20577"/>
      <pc:docMkLst>
        <pc:docMk/>
      </pc:docMkLst>
      <pc:sldChg chg="modSp">
        <pc:chgData name="YAN LUO" userId="" providerId="" clId="Web-{86B35720-4193-446F-B2D5-9AD9984A55EF}" dt="2021-08-19T14:59:05.021" v="263" actId="20577"/>
        <pc:sldMkLst>
          <pc:docMk/>
          <pc:sldMk cId="2459446073" sldId="289"/>
        </pc:sldMkLst>
        <pc:spChg chg="mod">
          <ac:chgData name="YAN LUO" userId="" providerId="" clId="Web-{86B35720-4193-446F-B2D5-9AD9984A55EF}" dt="2021-08-19T14:59:05.021" v="263" actId="20577"/>
          <ac:spMkLst>
            <pc:docMk/>
            <pc:sldMk cId="2459446073" sldId="289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5:37.479" v="115" actId="20577"/>
        <pc:sldMkLst>
          <pc:docMk/>
          <pc:sldMk cId="981671777" sldId="296"/>
        </pc:sldMkLst>
        <pc:spChg chg="mod">
          <ac:chgData name="YAN LUO" userId="" providerId="" clId="Web-{86B35720-4193-446F-B2D5-9AD9984A55EF}" dt="2021-08-19T14:15:37.479" v="115" actId="20577"/>
          <ac:spMkLst>
            <pc:docMk/>
            <pc:sldMk cId="981671777" sldId="296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07:37.968" v="1" actId="20577"/>
        <pc:sldMkLst>
          <pc:docMk/>
          <pc:sldMk cId="1398439132" sldId="316"/>
        </pc:sldMkLst>
        <pc:spChg chg="mod">
          <ac:chgData name="YAN LUO" userId="" providerId="" clId="Web-{86B35720-4193-446F-B2D5-9AD9984A55EF}" dt="2021-08-19T14:07:37.968" v="1" actId="20577"/>
          <ac:spMkLst>
            <pc:docMk/>
            <pc:sldMk cId="1398439132" sldId="316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2:24.459" v="39" actId="20577"/>
        <pc:sldMkLst>
          <pc:docMk/>
          <pc:sldMk cId="3975168428" sldId="317"/>
        </pc:sldMkLst>
        <pc:spChg chg="mod">
          <ac:chgData name="YAN LUO" userId="" providerId="" clId="Web-{86B35720-4193-446F-B2D5-9AD9984A55EF}" dt="2021-08-19T14:10:01.737" v="18" actId="20577"/>
          <ac:spMkLst>
            <pc:docMk/>
            <pc:sldMk cId="3975168428" sldId="317"/>
            <ac:spMk id="3" creationId="{04523243-E4D6-45EC-97C8-D44398FB7417}"/>
          </ac:spMkLst>
        </pc:spChg>
        <pc:spChg chg="mod">
          <ac:chgData name="YAN LUO" userId="" providerId="" clId="Web-{86B35720-4193-446F-B2D5-9AD9984A55EF}" dt="2021-08-19T14:12:24.459" v="39" actId="20577"/>
          <ac:spMkLst>
            <pc:docMk/>
            <pc:sldMk cId="3975168428" sldId="317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5:56.635" v="140" actId="20577"/>
        <pc:sldMkLst>
          <pc:docMk/>
          <pc:sldMk cId="239597884" sldId="318"/>
        </pc:sldMkLst>
        <pc:spChg chg="mod">
          <ac:chgData name="YAN LUO" userId="" providerId="" clId="Web-{86B35720-4193-446F-B2D5-9AD9984A55EF}" dt="2021-08-19T14:15:56.635" v="140" actId="20577"/>
          <ac:spMkLst>
            <pc:docMk/>
            <pc:sldMk cId="239597884" sldId="318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16:10.167" v="168" actId="20577"/>
        <pc:sldMkLst>
          <pc:docMk/>
          <pc:sldMk cId="232499080" sldId="319"/>
        </pc:sldMkLst>
        <pc:spChg chg="mod">
          <ac:chgData name="YAN LUO" userId="" providerId="" clId="Web-{86B35720-4193-446F-B2D5-9AD9984A55EF}" dt="2021-08-19T14:16:10.167" v="168" actId="20577"/>
          <ac:spMkLst>
            <pc:docMk/>
            <pc:sldMk cId="232499080" sldId="319"/>
            <ac:spMk id="5" creationId="{85D9F803-CDBC-C74C-AF1B-2B5937D1C241}"/>
          </ac:spMkLst>
        </pc:spChg>
      </pc:sldChg>
      <pc:sldChg chg="modSp addCm">
        <pc:chgData name="YAN LUO" userId="" providerId="" clId="Web-{86B35720-4193-446F-B2D5-9AD9984A55EF}" dt="2021-08-19T14:58:05.144" v="175"/>
        <pc:sldMkLst>
          <pc:docMk/>
          <pc:sldMk cId="700132931" sldId="322"/>
        </pc:sldMkLst>
        <pc:spChg chg="mod">
          <ac:chgData name="YAN LUO" userId="" providerId="" clId="Web-{86B35720-4193-446F-B2D5-9AD9984A55EF}" dt="2021-08-19T14:17:04.699" v="171" actId="20577"/>
          <ac:spMkLst>
            <pc:docMk/>
            <pc:sldMk cId="700132931" sldId="322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17:12.528" v="174" actId="20577"/>
        <pc:sldMkLst>
          <pc:docMk/>
          <pc:sldMk cId="1866160706" sldId="323"/>
        </pc:sldMkLst>
        <pc:spChg chg="mod">
          <ac:chgData name="YAN LUO" userId="" providerId="" clId="Web-{86B35720-4193-446F-B2D5-9AD9984A55EF}" dt="2021-08-19T14:17:12.528" v="174" actId="20577"/>
          <ac:spMkLst>
            <pc:docMk/>
            <pc:sldMk cId="1866160706" sldId="323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58:49.817" v="250" actId="20577"/>
        <pc:sldMkLst>
          <pc:docMk/>
          <pc:sldMk cId="252359608" sldId="324"/>
        </pc:sldMkLst>
        <pc:spChg chg="mod">
          <ac:chgData name="YAN LUO" userId="" providerId="" clId="Web-{86B35720-4193-446F-B2D5-9AD9984A55EF}" dt="2021-08-19T14:58:49.817" v="250" actId="20577"/>
          <ac:spMkLst>
            <pc:docMk/>
            <pc:sldMk cId="252359608" sldId="324"/>
            <ac:spMk id="5" creationId="{85D9F803-CDBC-C74C-AF1B-2B5937D1C241}"/>
          </ac:spMkLst>
        </pc:spChg>
      </pc:sldChg>
    </pc:docChg>
  </pc:docChgLst>
  <pc:docChgLst>
    <pc:chgData name="annaasgaraly@ibm.com" clId="Web-{10340FDF-B15C-4CFF-B487-146F9B98A252}"/>
    <pc:docChg chg="modSld">
      <pc:chgData name="annaasgaraly@ibm.com" userId="" providerId="" clId="Web-{10340FDF-B15C-4CFF-B487-146F9B98A252}" dt="2021-08-10T21:47:37.589" v="27"/>
      <pc:docMkLst>
        <pc:docMk/>
      </pc:docMkLst>
      <pc:sldChg chg="mod setBg">
        <pc:chgData name="annaasgaraly@ibm.com" userId="" providerId="" clId="Web-{10340FDF-B15C-4CFF-B487-146F9B98A252}" dt="2021-08-10T21:45:57.511" v="22"/>
        <pc:sldMkLst>
          <pc:docMk/>
          <pc:sldMk cId="3181088097" sldId="278"/>
        </pc:sldMkLst>
      </pc:sldChg>
      <pc:sldChg chg="mod setBg">
        <pc:chgData name="annaasgaraly@ibm.com" userId="" providerId="" clId="Web-{10340FDF-B15C-4CFF-B487-146F9B98A252}" dt="2021-08-10T21:39:24.478" v="2"/>
        <pc:sldMkLst>
          <pc:docMk/>
          <pc:sldMk cId="178270660" sldId="284"/>
        </pc:sldMkLst>
      </pc:sldChg>
      <pc:sldChg chg="mod setBg">
        <pc:chgData name="annaasgaraly@ibm.com" userId="" providerId="" clId="Web-{10340FDF-B15C-4CFF-B487-146F9B98A252}" dt="2021-08-10T21:46:27.417" v="25"/>
        <pc:sldMkLst>
          <pc:docMk/>
          <pc:sldMk cId="1290394134" sldId="288"/>
        </pc:sldMkLst>
      </pc:sldChg>
      <pc:sldChg chg="mod setBg">
        <pc:chgData name="annaasgaraly@ibm.com" userId="" providerId="" clId="Web-{10340FDF-B15C-4CFF-B487-146F9B98A252}" dt="2021-08-10T21:46:06.604" v="23"/>
        <pc:sldMkLst>
          <pc:docMk/>
          <pc:sldMk cId="1023352497" sldId="294"/>
        </pc:sldMkLst>
      </pc:sldChg>
      <pc:sldChg chg="mod setBg">
        <pc:chgData name="annaasgaraly@ibm.com" userId="" providerId="" clId="Web-{10340FDF-B15C-4CFF-B487-146F9B98A252}" dt="2021-08-10T21:47:37.589" v="27"/>
        <pc:sldMkLst>
          <pc:docMk/>
          <pc:sldMk cId="3093198887" sldId="298"/>
        </pc:sldMkLst>
      </pc:sldChg>
      <pc:sldChg chg="mod setBg">
        <pc:chgData name="annaasgaraly@ibm.com" userId="" providerId="" clId="Web-{10340FDF-B15C-4CFF-B487-146F9B98A252}" dt="2021-08-10T21:46:43.870" v="26"/>
        <pc:sldMkLst>
          <pc:docMk/>
          <pc:sldMk cId="733461713" sldId="321"/>
        </pc:sldMkLst>
      </pc:sldChg>
      <pc:sldChg chg="modSp mod setBg">
        <pc:chgData name="annaasgaraly@ibm.com" userId="" providerId="" clId="Web-{10340FDF-B15C-4CFF-B487-146F9B98A252}" dt="2021-08-10T21:42:44.994" v="17" actId="1076"/>
        <pc:sldMkLst>
          <pc:docMk/>
          <pc:sldMk cId="1277611629" sldId="327"/>
        </pc:sldMkLst>
        <pc:spChg chg="mod">
          <ac:chgData name="annaasgaraly@ibm.com" userId="" providerId="" clId="Web-{10340FDF-B15C-4CFF-B487-146F9B98A252}" dt="2021-08-10T21:42:44.994" v="17" actId="1076"/>
          <ac:spMkLst>
            <pc:docMk/>
            <pc:sldMk cId="1277611629" sldId="327"/>
            <ac:spMk id="6" creationId="{2C36AF9D-A911-994B-90EA-013D4CDA5604}"/>
          </ac:spMkLst>
        </pc:spChg>
      </pc:sldChg>
      <pc:sldChg chg="modSp mod setBg">
        <pc:chgData name="annaasgaraly@ibm.com" userId="" providerId="" clId="Web-{10340FDF-B15C-4CFF-B487-146F9B98A252}" dt="2021-08-10T21:41:36.353" v="12" actId="1076"/>
        <pc:sldMkLst>
          <pc:docMk/>
          <pc:sldMk cId="661040741" sldId="329"/>
        </pc:sldMkLst>
        <pc:picChg chg="mod">
          <ac:chgData name="annaasgaraly@ibm.com" userId="" providerId="" clId="Web-{10340FDF-B15C-4CFF-B487-146F9B98A252}" dt="2021-08-10T21:41:36.338" v="9" actId="1076"/>
          <ac:picMkLst>
            <pc:docMk/>
            <pc:sldMk cId="661040741" sldId="329"/>
            <ac:picMk id="8" creationId="{F88AB437-E43C-436D-B35E-51887C103800}"/>
          </ac:picMkLst>
        </pc:picChg>
        <pc:picChg chg="mod">
          <ac:chgData name="annaasgaraly@ibm.com" userId="" providerId="" clId="Web-{10340FDF-B15C-4CFF-B487-146F9B98A252}" dt="2021-08-10T21:41:36.338" v="10" actId="1076"/>
          <ac:picMkLst>
            <pc:docMk/>
            <pc:sldMk cId="661040741" sldId="329"/>
            <ac:picMk id="9" creationId="{89FBF71A-DDF5-4BAA-B9B5-91B4675FF80E}"/>
          </ac:picMkLst>
        </pc:picChg>
        <pc:picChg chg="mod">
          <ac:chgData name="annaasgaraly@ibm.com" userId="" providerId="" clId="Web-{10340FDF-B15C-4CFF-B487-146F9B98A252}" dt="2021-08-10T21:41:36.338" v="11" actId="1076"/>
          <ac:picMkLst>
            <pc:docMk/>
            <pc:sldMk cId="661040741" sldId="329"/>
            <ac:picMk id="10" creationId="{225AE237-9A47-4E0B-AE8A-DD0CED30B39D}"/>
          </ac:picMkLst>
        </pc:picChg>
        <pc:picChg chg="mod">
          <ac:chgData name="annaasgaraly@ibm.com" userId="" providerId="" clId="Web-{10340FDF-B15C-4CFF-B487-146F9B98A252}" dt="2021-08-10T21:41:36.353" v="12" actId="1076"/>
          <ac:picMkLst>
            <pc:docMk/>
            <pc:sldMk cId="661040741" sldId="329"/>
            <ac:picMk id="11" creationId="{E1021DDF-7C74-4FD8-AE38-AFFCC057C8C2}"/>
          </ac:picMkLst>
        </pc:picChg>
      </pc:sldChg>
      <pc:sldChg chg="delSp">
        <pc:chgData name="annaasgaraly@ibm.com" userId="" providerId="" clId="Web-{10340FDF-B15C-4CFF-B487-146F9B98A252}" dt="2021-08-10T21:41:45.322" v="13"/>
        <pc:sldMkLst>
          <pc:docMk/>
          <pc:sldMk cId="724038033" sldId="330"/>
        </pc:sldMkLst>
        <pc:picChg chg="del">
          <ac:chgData name="annaasgaraly@ibm.com" userId="" providerId="" clId="Web-{10340FDF-B15C-4CFF-B487-146F9B98A252}" dt="2021-08-10T21:41:45.322" v="13"/>
          <ac:picMkLst>
            <pc:docMk/>
            <pc:sldMk cId="724038033" sldId="330"/>
            <ac:picMk id="5" creationId="{CB1F49FF-991F-486B-915B-B77CF4EFA4FC}"/>
          </ac:picMkLst>
        </pc:picChg>
      </pc:sldChg>
      <pc:sldChg chg="delSp">
        <pc:chgData name="annaasgaraly@ibm.com" userId="" providerId="" clId="Web-{10340FDF-B15C-4CFF-B487-146F9B98A252}" dt="2021-08-10T21:41:47.681" v="14"/>
        <pc:sldMkLst>
          <pc:docMk/>
          <pc:sldMk cId="1980221439" sldId="331"/>
        </pc:sldMkLst>
        <pc:picChg chg="del">
          <ac:chgData name="annaasgaraly@ibm.com" userId="" providerId="" clId="Web-{10340FDF-B15C-4CFF-B487-146F9B98A252}" dt="2021-08-10T21:41:47.681" v="14"/>
          <ac:picMkLst>
            <pc:docMk/>
            <pc:sldMk cId="1980221439" sldId="331"/>
            <ac:picMk id="2" creationId="{8A66F7ED-A8F1-451C-8775-2EC870DFBB7B}"/>
          </ac:picMkLst>
        </pc:picChg>
      </pc:sldChg>
      <pc:sldChg chg="delSp">
        <pc:chgData name="annaasgaraly@ibm.com" userId="" providerId="" clId="Web-{10340FDF-B15C-4CFF-B487-146F9B98A252}" dt="2021-08-10T21:41:49.431" v="15"/>
        <pc:sldMkLst>
          <pc:docMk/>
          <pc:sldMk cId="2560061391" sldId="332"/>
        </pc:sldMkLst>
        <pc:picChg chg="del">
          <ac:chgData name="annaasgaraly@ibm.com" userId="" providerId="" clId="Web-{10340FDF-B15C-4CFF-B487-146F9B98A252}" dt="2021-08-10T21:41:49.431" v="15"/>
          <ac:picMkLst>
            <pc:docMk/>
            <pc:sldMk cId="2560061391" sldId="332"/>
            <ac:picMk id="3" creationId="{5183A175-625A-4E5B-9091-5DB0C049168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D167474-952B-AC43-BEC3-541C80E3FD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6DC1C6-1287-2C4A-84C8-98EFD82F9A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1B1DFE-DEC1-F84C-B64B-0BC4AFB87332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322D0-710C-764D-ADE9-C566FF3B05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A2AE0-FDA0-1248-8D07-A5244E897E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91E733-BECA-E944-9B7F-321864631F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015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97948-54D2-43F8-9A63-A99FE3051738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DA0E2-FEBD-4B65-8F16-724CF984F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22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315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275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618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966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503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FDF747-B622-7F48-9215-C3A606BD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729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DD383-EB92-5540-96BB-199B7760E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9FED7B-4DA5-4346-B7E2-D18782430F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2B5F2C-52A9-3047-A473-9FFC051518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041C9-0677-664D-B2BB-69B0A6A7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B34EA4-D670-2C41-9EF4-392023D2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549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D05DB93-A58E-714C-BD6E-76F1D21AEA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F83819-F149-7645-A0DD-B53DD9D848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FB065F-A67E-EF4E-A12F-EB30F584E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6E9D5F-8CC5-8740-9426-35E9D812F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1DE0B-93CB-5C41-B581-C00D0F9F7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9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30FDD2-E0CC-3E4C-A49E-91BE8BE036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07829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119083-F06C-6F4F-9852-321B8C953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1030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FDF747-B622-7F48-9215-C3A606BD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1869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119083-F06C-6F4F-9852-321B8C953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371408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FDF747-B622-7F48-9215-C3A606BD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295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119083-F06C-6F4F-9852-321B8C953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074931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CE525-4063-4C4F-8334-FBA02DB69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14EC97-9D34-BE48-9367-02F3BA1482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BB8E19-FEF2-7A4B-8575-5AFEB134BC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A4E28-3138-784C-8CBB-8586D8EE0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B07D0F-3645-6B43-9AD7-762199572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837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63CE8-FC8A-B648-971E-6DC96997A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34958-58AE-3F4E-8C00-440B25A93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872462-6007-A64A-86E6-F5ED46C87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379FD-EE00-8243-9FA5-BC4C116FA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2C754-6A4A-424A-B972-C341147C4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51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B8FC9-14F0-064F-BEB7-9DA0B5822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65333-3885-5246-9997-584B944334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A3D495-0AB7-4245-BD03-FEF725EE8B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3532B-22A8-4948-8614-690AB67FC7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5A5D6-868E-4849-A5DA-84702CEDF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682E35-43FC-E946-AA84-7E00546A2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83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14121-1457-7D45-BFFD-BECD66497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E09A76-C125-0945-BCD8-FF2A0498A5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B142CC-BC3F-664E-A6C2-3854B8D4E8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FA8D54-9ED9-E345-B69E-FF5D485B13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9B295F-F3C2-5646-A5F3-194FE6EFEB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516157-5FC9-E841-A6FC-14EBCFDEC6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44E072-D5B7-D647-82C0-40BEAE857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A73D6E-2A82-7344-BB8C-513E6DA4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103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9B4CE-9E7B-564C-A6C3-DCABF996F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F8A31D-92A5-DF47-9C3A-9F9C1CF8FC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E7EADA-8BC4-974C-BBA1-7390F15FD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9EC0A8-C281-FF40-A774-EAF6089BB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588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027EBC-C9EC-5844-B3BF-5151B2F70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F664BF-C7CE-DC46-9D6D-A9335EE9D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1AAD4E-B732-E349-8793-C20A3D6B7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628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3A651-FEEA-2140-82D8-9C06A36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D2DAEA-C881-354D-A17E-2A95857F0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2148C2-62EB-B446-BB7C-69F5E4806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4D069-D155-9141-9045-DB41904753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0EE34C-EABB-6848-A341-7CA0C293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04AAD-C125-DD44-8102-9F2882080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51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D611A-FFDF-C848-A433-C5B125C40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6C0E97-AC3D-784B-96B7-0D18B5A35A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B37986-0214-C348-AB5F-D54BF28810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860A9-8610-9347-BAE7-F23CCA13E5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49D7C-BCAA-DE44-AE89-5178DA8D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5319C3-A65D-764B-BD49-57D0082AE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13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D5B246-E282-3742-BD72-B1BCDC5A6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4772" y="6025573"/>
            <a:ext cx="2743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1C7DDB"/>
                </a:solidFill>
                <a:latin typeface="Abadi" panose="020B0604020104020204" pitchFamily="34" charset="0"/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1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717" r:id="rId14"/>
    <p:sldLayoutId id="2147483720" r:id="rId15"/>
    <p:sldLayoutId id="2147483750" r:id="rId16"/>
    <p:sldLayoutId id="214748375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4.xml"/><Relationship Id="rId18" Type="http://schemas.openxmlformats.org/officeDocument/2006/relationships/slide" Target="slide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15.xml"/><Relationship Id="rId2" Type="http://schemas.openxmlformats.org/officeDocument/2006/relationships/tags" Target="../tags/tag2.xml"/><Relationship Id="rId16" Type="http://schemas.openxmlformats.org/officeDocument/2006/relationships/slide" Target="slide16.xml"/><Relationship Id="rId20" Type="http://schemas.openxmlformats.org/officeDocument/2006/relationships/slide" Target="slide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.png"/><Relationship Id="rId10" Type="http://schemas.openxmlformats.org/officeDocument/2006/relationships/tags" Target="../tags/tag10.xml"/><Relationship Id="rId19" Type="http://schemas.openxmlformats.org/officeDocument/2006/relationships/slide" Target="slide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.png"/><Relationship Id="rId7" Type="http://schemas.openxmlformats.org/officeDocument/2006/relationships/image" Target="../media/image3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9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C36AF9D-A911-994B-90EA-013D4CDA5604}"/>
              </a:ext>
            </a:extLst>
          </p:cNvPr>
          <p:cNvSpPr txBox="1"/>
          <p:nvPr/>
        </p:nvSpPr>
        <p:spPr>
          <a:xfrm>
            <a:off x="888546" y="4568734"/>
            <a:ext cx="25146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badi"/>
                <a:ea typeface="SF Pro" pitchFamily="2" charset="0"/>
                <a:cs typeface="SF Pro" pitchFamily="2" charset="0"/>
              </a:rPr>
              <a:t>Luka Hudales Ruzic</a:t>
            </a:r>
          </a:p>
          <a:p>
            <a:r>
              <a:rPr lang="en-US" dirty="0">
                <a:solidFill>
                  <a:schemeClr val="bg2"/>
                </a:solidFill>
                <a:latin typeface="Abadi" panose="020B0604020104020204" pitchFamily="34" charset="0"/>
                <a:ea typeface="SF Pro" pitchFamily="2" charset="0"/>
                <a:cs typeface="SF Pro" pitchFamily="2" charset="0"/>
              </a:rPr>
              <a:t>25.4.2025</a:t>
            </a:r>
          </a:p>
        </p:txBody>
      </p:sp>
      <p:pic>
        <p:nvPicPr>
          <p:cNvPr id="2" name="Picture 2" descr="IBM Skills Network Logo - Horizontal-noai copy.png">
            <a:extLst>
              <a:ext uri="{FF2B5EF4-FFF2-40B4-BE49-F238E27FC236}">
                <a16:creationId xmlns:a16="http://schemas.microsoft.com/office/drawing/2014/main" id="{4F94DBE5-2DCC-401E-95AA-12E04A97FB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820" y="676828"/>
            <a:ext cx="2104103" cy="62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11629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7FE14EE9-24E1-EF96-4631-8916308D0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4772" y="6025573"/>
            <a:ext cx="2743200" cy="401638"/>
          </a:xfrm>
        </p:spPr>
        <p:txBody>
          <a:bodyPr/>
          <a:lstStyle/>
          <a:p>
            <a:fld id="{5075537C-CA84-1446-933C-8E9D027F9201}" type="slidenum">
              <a:rPr lang="en-US" smtClean="0"/>
              <a:t>10</a:t>
            </a:fld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275880C-655B-3D82-4E63-9A0BEC221D31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Wrangling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26A228D-0A13-5415-4B6A-E3D69CB17FF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7419379" cy="49514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Font typeface="Arial" panose="020B0604020202020204" pitchFamily="34" charset="0"/>
              <a:buNone/>
            </a:pPr>
            <a:r>
              <a:rPr lang="en-GB" sz="1600" dirty="0"/>
              <a:t>Context:</a:t>
            </a:r>
          </a:p>
          <a:p>
            <a:pPr marL="342900" indent="-342900"/>
            <a:r>
              <a:rPr lang="en-GB" sz="1400" dirty="0"/>
              <a:t>The landing outcome is shown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400" dirty="0"/>
              <a:t> column: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200" dirty="0"/>
              <a:t>–  the mission outcome was successfully  landed to a specific region of the ocean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200" dirty="0"/>
              <a:t>– the mission outcome was unsuccessfully landed to a specific region of the ocean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200" dirty="0"/>
              <a:t>–  the mission outcome was successfully  landed to a ground pad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200" dirty="0"/>
              <a:t>– the mission outcome was unsuccessfully landed to a ground pad.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200" dirty="0"/>
              <a:t>– the mission outcome was successfully  landed to a drone ship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200" dirty="0"/>
              <a:t> – the mission outcome was unsuccessfully landed to a drone ship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200" dirty="0"/>
              <a:t>and 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None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/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 algn="ctr">
              <a:buFont typeface="Arial" panose="020B0604020202020204" pitchFamily="34" charset="0"/>
              <a:buNone/>
            </a:pPr>
            <a:r>
              <a:rPr lang="en-GB" sz="1600" dirty="0"/>
              <a:t>Data Wrangling:</a:t>
            </a:r>
          </a:p>
          <a:p>
            <a:pPr marL="285750" indent="-285750"/>
            <a:r>
              <a:rPr lang="en-GB" sz="1400" dirty="0"/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/>
            <a:r>
              <a:rPr lang="en-GB" sz="1400" dirty="0"/>
              <a:t>This is done by: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Defining a set of unsuccessful (bad) outcomes,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endParaRPr lang="en-GB" sz="1200" dirty="0">
              <a:solidFill>
                <a:srgbClr val="61AFEF"/>
              </a:solidFill>
              <a:latin typeface="Consolas" panose="020B0609020204030204" pitchFamily="49" charset="0"/>
            </a:endParaRP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ing a list,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/>
              <a:t>, where the element is 0 if the corresponding  row  in 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200" dirty="0"/>
              <a:t>is in the set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 dirty="0"/>
              <a:t>, otherwise, it’s 1.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200" dirty="0"/>
              <a:t> column that  contains the values from the list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Export the </a:t>
            </a:r>
            <a:r>
              <a:rPr lang="en-GB" sz="1200" dirty="0" err="1"/>
              <a:t>DataFrame</a:t>
            </a:r>
            <a:r>
              <a:rPr lang="en-GB" sz="1200" dirty="0"/>
              <a:t> as a .csv file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0DBCCAE-2EAE-621F-0D39-97E294F01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5556" y="1591092"/>
            <a:ext cx="3828186" cy="738648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40395BC-AF85-059F-C759-3940DEB10C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9181" y="3087793"/>
            <a:ext cx="5004402" cy="2095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CF45913-990E-097F-54FC-7A971DF59D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4772" y="3807746"/>
            <a:ext cx="2266950" cy="2476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7FFD490F-A184-3C62-DFA7-B298C6A24495}"/>
              </a:ext>
            </a:extLst>
          </p:cNvPr>
          <p:cNvSpPr/>
          <p:nvPr/>
        </p:nvSpPr>
        <p:spPr>
          <a:xfrm>
            <a:off x="7850932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A114509-04C7-82A8-9F70-12A461A0CEC4}"/>
              </a:ext>
            </a:extLst>
          </p:cNvPr>
          <p:cNvSpPr/>
          <p:nvPr/>
        </p:nvSpPr>
        <p:spPr>
          <a:xfrm>
            <a:off x="6804599" y="2826502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E5D97DC-0EA7-FE8D-1F00-2C9AAF65BA99}"/>
              </a:ext>
            </a:extLst>
          </p:cNvPr>
          <p:cNvSpPr/>
          <p:nvPr/>
        </p:nvSpPr>
        <p:spPr>
          <a:xfrm>
            <a:off x="8487557" y="3581540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828736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E03D3-761E-7549-A4C6-7E585EBC4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E97D81-A978-4758-8A93-47C19B10407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DA with Data Visualization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7CC4625E-F492-DD5C-D3AA-DF0A14300FB6}"/>
              </a:ext>
            </a:extLst>
          </p:cNvPr>
          <p:cNvSpPr txBox="1">
            <a:spLocks/>
          </p:cNvSpPr>
          <p:nvPr/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7EEFB65-8CB6-299F-2656-D7846DC6293B}"/>
              </a:ext>
            </a:extLst>
          </p:cNvPr>
          <p:cNvSpPr txBox="1">
            <a:spLocks/>
          </p:cNvSpPr>
          <p:nvPr/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Scatter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Flight Number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Payload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Orbit Type and Flight Numb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Payload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B5FC4AE-F1ED-820B-5DF0-C36C4AEDDE01}"/>
              </a:ext>
            </a:extLst>
          </p:cNvPr>
          <p:cNvSpPr txBox="1">
            <a:spLocks/>
          </p:cNvSpPr>
          <p:nvPr/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AR CHART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7438EE60-8A1C-F197-5D35-22EB2044A3F7}"/>
              </a:ext>
            </a:extLst>
          </p:cNvPr>
          <p:cNvSpPr txBox="1">
            <a:spLocks/>
          </p:cNvSpPr>
          <p:nvPr/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A bar chart was produced to visualize the relationship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Success Rate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37EA8E3B-98F3-1B0B-1478-C50B74220409}"/>
              </a:ext>
            </a:extLst>
          </p:cNvPr>
          <p:cNvSpPr txBox="1">
            <a:spLocks/>
          </p:cNvSpPr>
          <p:nvPr/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NE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E0877871-75FF-059E-1EC1-6ECB557211A7}"/>
              </a:ext>
            </a:extLst>
          </p:cNvPr>
          <p:cNvSpPr txBox="1">
            <a:spLocks/>
          </p:cNvSpPr>
          <p:nvPr/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Line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Success Rate and Year (i.e. the launch success yearly trend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DD81B67-FE54-2E58-E1B6-E3E9578AB5C3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AB400B4B-0997-ECB8-83B6-BF4C06C31CB8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40CF6FAD-AA9D-BEBF-7DAD-BFBB6FD22CE4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376C1DE0-7624-A9C6-9829-BADDCA2B8958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3434E161-3377-6CC4-4A50-0C96AD344888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9619730-DAE1-CC41-62CB-9D89BEEC0AE6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1A5408BE-38F8-13C1-FEA5-51CE8C81A044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A008AE12-2BB0-DCBB-849D-714915B7B362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949E1C1-81AE-5157-92CE-A3D2AEF036BB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CCABA284-B0DE-CDC6-6749-53D8497D97B5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8FAB332-4AAE-0E2E-71A6-FDDA7E58B403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4EF8C00A-9699-2C74-AAEF-FC6C5F3E1084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748F4618-67A7-4EEE-33E8-73ED897DE695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65871F23-6C02-66DA-593B-1839F2009F9F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8060E26-0F84-1E4F-2617-192EF9699B6B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33ECC7A-6208-6D02-254C-B0685A58E42D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Ubuntu"/>
              </a:rPr>
              <a:t>Scatter charts are useful to observe relationships, or correlations, between two numeric variables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A4154A7-8A01-D262-FFE7-3C923B942A51}"/>
              </a:ext>
            </a:extLst>
          </p:cNvPr>
          <p:cNvSpPr txBox="1"/>
          <p:nvPr/>
        </p:nvSpPr>
        <p:spPr>
          <a:xfrm>
            <a:off x="4322536" y="535521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Ubuntu"/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68F1A3-073A-6BC1-4FC3-8896309FFBA7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Ubuntu"/>
              </a:rPr>
              <a:t>Line charts contain numerical values on both axes and are generally used to show the change of a variable over time.</a:t>
            </a:r>
          </a:p>
        </p:txBody>
      </p:sp>
    </p:spTree>
    <p:extLst>
      <p:ext uri="{BB962C8B-B14F-4D97-AF65-F5344CB8AC3E}">
        <p14:creationId xmlns:p14="http://schemas.microsoft.com/office/powerpoint/2010/main" val="779971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7B1B70-690D-5945-90C2-196E1304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405FDA-CB27-4506-BA80-B7DD00CB25C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DA with SQL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3CE142B-B821-1185-95A8-791C3E48E15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gather some information about the dataset, some SQL queries were perform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QL queries performed on the data set were used to: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names of the unique launch sites in the space mis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5 records where launch sites begin with the string ‘CCA’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total payload mass carried by boosters launched by NASA (CR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isplay the average payload mass carried by booster version F9 v1.1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date when the first successful landing outcome on a ground pad was achiev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s which had success on a drone ship and a payload mass between 4000 and 6000 k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total number of successful and failed mission outcom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 versions which have carried the maximum payload ma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failed landing outcomes on drone ships, their booster versions, and launch site names for 2015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726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B26FF-76AA-124F-92D8-C93C45D21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8946E4-5BEF-46F0-A56A-E7E85ACA148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uild an Interactive Map with Folium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6B31F31-C5B2-917E-576C-31AAD64A0E7D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steps were taken to visualize the launch data on an interactive ma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rk all launch sites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itialise the map using a Folium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dd 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Circl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each launch site on the launch map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rk the success/failed launches for each site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many launches have the same coordinates, it makes sense to cluster them together. 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fore clustering them, assign a marker colour of successful (class = 1) as green, and failed (class = 0) as red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put the launches into clusters, for each launch, add 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the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rkerCluste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e an icon as a text label, assigning the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icon_colo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arker_colou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termined previously.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distances between a launch site to its proximities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explore the proximities of launch sites, calculations of distances between points can be made using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ong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alues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marking a point using 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ong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alues, create 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Marke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 to show the distance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display the distance line between two points, draw a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olium.PolyLin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 add this to the ma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14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DB26FF-76AA-124F-92D8-C93C45D21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4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19FC08B-7D2E-43A5-A528-821DCDCCCC82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uild a Dashboard with </a:t>
            </a:r>
            <a:r>
              <a:rPr lang="en-US" dirty="0" err="1">
                <a:solidFill>
                  <a:srgbClr val="0B49CB"/>
                </a:solidFill>
                <a:latin typeface="Abadi"/>
              </a:rPr>
              <a:t>Plotly</a:t>
            </a:r>
            <a:r>
              <a:rPr lang="en-US" dirty="0">
                <a:solidFill>
                  <a:srgbClr val="0B49CB"/>
                </a:solidFill>
                <a:latin typeface="Abadi"/>
              </a:rPr>
              <a:t> Dash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054618D-53E9-E3BE-72FF-3D29B356E41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plots were added to a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l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ash dashboard to have an interactive visualisation of the dat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ie chart (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pi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showing the total successful launches per site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makes it clear to see which sites are most successfu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chart could also be filtered (using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cc.Dropdow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) to see the success/failure ratio for an individual sit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graph (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scatt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to show the correlation between outcome (success or not) and payload mass (kg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could be filtered (using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angeSlid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) by ranges of payload masse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could also be filtered by booster ver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5327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B08F2-C4AD-A440-BB78-A0625E288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5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857EDD-A3A7-434D-B8D5-401E872498D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redictive Analysis (Classification)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589536F-4F45-59FA-A40B-A18F82526E59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rgbClr val="12ABDB"/>
                </a:solidFill>
                <a:latin typeface="Ubuntu"/>
              </a:rPr>
              <a:t>The following steps were taking to develop, evaluate, and find the best performing classification model:</a:t>
            </a:r>
            <a:endParaRPr lang="en-US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ABC15B-67EF-5B57-CDFD-DB4D7F4C6B40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Ubuntu"/>
              </a:rPr>
              <a:t>Model Developmen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084C8AC-EEF5-010B-6156-9D3CF237D5CF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Ubuntu"/>
              </a:rPr>
              <a:t>To prepare the dataset for model development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Load dataset		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Perform necessary data transformations (standardise and pre-process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Split data into training and test data sets, using</a:t>
            </a:r>
            <a:r>
              <a:rPr lang="en-GB" sz="1200" dirty="0">
                <a:solidFill>
                  <a:srgbClr val="FFFFFF"/>
                </a:solidFill>
                <a:latin typeface="Ubuntu"/>
              </a:rPr>
              <a:t>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ain_test_split(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Ubuntu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>
                <a:solidFill>
                  <a:srgbClr val="FFFFFF"/>
                </a:solidFill>
                <a:latin typeface="Ubuntu"/>
              </a:rPr>
              <a:t> </a:t>
            </a:r>
            <a:r>
              <a:rPr lang="en-GB" sz="1200" dirty="0">
                <a:solidFill>
                  <a:schemeClr val="tx1"/>
                </a:solidFill>
                <a:latin typeface="Ubuntu"/>
              </a:rPr>
              <a:t>object and a dictionary of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Fit the object to the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  <a:latin typeface="Ubuntu"/>
              </a:rPr>
              <a:t>Use the training data set to train the mod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1F713FC-4757-1149-2011-8E7E415001D1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Ubuntu"/>
              </a:rPr>
              <a:t>Model Evalu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B81AC5C-720A-89C1-CD80-39203B10189F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Ubuntu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Ubuntu"/>
              </a:rPr>
              <a:t>Using the output GridSearchCV object: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latin typeface="Ubuntu"/>
              </a:rPr>
              <a:t>Check the tuned hyperparameters (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000" dirty="0">
                <a:latin typeface="Ubuntu"/>
              </a:rPr>
              <a:t>_)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latin typeface="Ubuntu"/>
              </a:rPr>
              <a:t>Check the accuracy (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000" dirty="0">
                <a:latin typeface="Ubuntu"/>
              </a:rPr>
              <a:t>and</a:t>
            </a:r>
            <a:r>
              <a:rPr lang="en-GB" sz="10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0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000" dirty="0">
                <a:latin typeface="Consolas" panose="020B0609020204030204" pitchFamily="49" charset="0"/>
              </a:rPr>
              <a:t>_</a:t>
            </a:r>
            <a:r>
              <a:rPr lang="en-GB" sz="1000" dirty="0">
                <a:latin typeface="Ubuntu"/>
              </a:rPr>
              <a:t>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Ubuntu"/>
              </a:rPr>
              <a:t>Plot and examine the Confusion Matrix</a:t>
            </a:r>
          </a:p>
          <a:p>
            <a:endParaRPr lang="en-GB" sz="1400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EA9A7A0-79D1-B5A8-E3E0-1705A94A1674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Ubuntu"/>
              </a:rPr>
              <a:t>Finding the Best Classification Mod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EBEA664-5896-737E-A627-7C95D09957D9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latin typeface="Ubuntu"/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latin typeface="Ubuntu"/>
              </a:rPr>
              <a:t>The model with the highest accuracy score is determined as the best performing model</a:t>
            </a:r>
            <a:endParaRPr lang="en-GB" sz="1800" dirty="0">
              <a:latin typeface="Ubuntu"/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4C4E6518-3DCF-A06D-B11A-8E580415AEE5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4DF0EE1A-81A8-74EF-467B-52E45E37C316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033719-5230-B345-28D0-87C62A61951E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F32632-51ED-FA70-B4F3-83036D426A44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432E424-545A-0F62-70A9-F574A707A380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27F3C26-01DE-C21C-B693-A00EA2468CB3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895B7CC-DFFD-D5DF-3234-E60A3EF2357F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55F577B-E9B6-485F-21A9-AC3FB9310684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A3BEB12-075F-D27C-E39F-1274EE7CDF46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  <p:sp>
        <p:nvSpPr>
          <p:cNvPr id="21" name="Graphic 31" descr="Trophy with solid fill">
            <a:extLst>
              <a:ext uri="{FF2B5EF4-FFF2-40B4-BE49-F238E27FC236}">
                <a16:creationId xmlns:a16="http://schemas.microsoft.com/office/drawing/2014/main" id="{4B2697AD-3B9E-5AC9-FE23-B45F72A9325C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rgbClr val="12ABDB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</a:rPr>
              <a:t>1</a:t>
            </a:r>
          </a:p>
        </p:txBody>
      </p:sp>
      <p:grpSp>
        <p:nvGrpSpPr>
          <p:cNvPr id="22" name="Graphic 34" descr="Gears with solid fill">
            <a:extLst>
              <a:ext uri="{FF2B5EF4-FFF2-40B4-BE49-F238E27FC236}">
                <a16:creationId xmlns:a16="http://schemas.microsoft.com/office/drawing/2014/main" id="{C53C60E4-D4D2-81EB-FCE1-1D54A464B33C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rgbClr val="12ABDB"/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169245D-AB45-5E99-D301-82DBEFCC9B54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D13D06A-F015-6E57-1E93-F1DE745C3678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7112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45C363-925C-9E48-86B0-27D7D36E5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6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0F9542-6794-4F57-BB45-868D94AD06B0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Results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10" name="Rectangle: Diagonal Corners Snipped 9">
            <a:extLst>
              <a:ext uri="{FF2B5EF4-FFF2-40B4-BE49-F238E27FC236}">
                <a16:creationId xmlns:a16="http://schemas.microsoft.com/office/drawing/2014/main" id="{2CCA41E7-4AFD-965A-1133-75944FD5CD53}"/>
              </a:ext>
            </a:extLst>
          </p:cNvPr>
          <p:cNvSpPr/>
          <p:nvPr/>
        </p:nvSpPr>
        <p:spPr>
          <a:xfrm>
            <a:off x="770012" y="1664769"/>
            <a:ext cx="4899099" cy="952381"/>
          </a:xfrm>
          <a:prstGeom prst="snip2DiagRect">
            <a:avLst/>
          </a:prstGeom>
          <a:solidFill>
            <a:srgbClr val="0070A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</p:txBody>
      </p:sp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97A41F4C-A7FE-683B-3ADE-16A68838C47D}"/>
              </a:ext>
            </a:extLst>
          </p:cNvPr>
          <p:cNvSpPr/>
          <p:nvPr/>
        </p:nvSpPr>
        <p:spPr>
          <a:xfrm>
            <a:off x="770012" y="3007645"/>
            <a:ext cx="4899099" cy="952381"/>
          </a:xfrm>
          <a:prstGeom prst="snip2DiagRect">
            <a:avLst/>
          </a:prstGeom>
          <a:solidFill>
            <a:srgbClr val="12ABDB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Analytics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C4EA4DBD-73DF-3277-5220-2E6D87CD5EED}"/>
              </a:ext>
            </a:extLst>
          </p:cNvPr>
          <p:cNvSpPr/>
          <p:nvPr/>
        </p:nvSpPr>
        <p:spPr>
          <a:xfrm>
            <a:off x="770011" y="4350521"/>
            <a:ext cx="4899099" cy="952381"/>
          </a:xfrm>
          <a:prstGeom prst="snip2DiagRect">
            <a:avLst/>
          </a:prstGeom>
          <a:solidFill>
            <a:srgbClr val="14596B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321008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18B93D-8F11-6347-95EE-BF68474E5B1F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1782706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8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F4FCC5-6E7E-4FF0-BE45-680EEC392C9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light Number vs. Launch Site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5D947B7-28F2-202F-82C5-06749D9C5F0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05315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catter plot of Launch Site vs. Flight Number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number of flights increases, the rate of success at a launch site increas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st of the early flights (flight numbers &lt; 30) were launched from CCAFS SLC 40 and were generally unsuccessful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lights from VAFB SLC 4E also show this trend, that earlier flights were less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o early flights were launched from KSC LC 39A, so the launches from this site are more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bove a flight number of around 30, there are significantly more successful landings (Class = 1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 descr="A line of dots with orange and blue dots&#10;&#10;AI-generated content may be incorrect.">
            <a:extLst>
              <a:ext uri="{FF2B5EF4-FFF2-40B4-BE49-F238E27FC236}">
                <a16:creationId xmlns:a16="http://schemas.microsoft.com/office/drawing/2014/main" id="{CDC2AE07-9931-2EB3-6EC4-ECFA5BD0B9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3456517"/>
            <a:ext cx="10880798" cy="2389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05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19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6CCD949-E788-4375-9B07-478FA5684BC1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ayload vs. Launch Sit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92E54E3-248D-6EF8-CFF8-8ADC5571A49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05315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catter plot of Launch Sit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bove a payload mass of around 7000 kg, there are very few unsuccessful landings, but there is also far less data for these heavier launch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re is no clear correlation between payload mass and success rate for a given launch sit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7" name="Picture 6" descr="A white background with colorful dots&#10;&#10;AI-generated content may be incorrect.">
            <a:extLst>
              <a:ext uri="{FF2B5EF4-FFF2-40B4-BE49-F238E27FC236}">
                <a16:creationId xmlns:a16="http://schemas.microsoft.com/office/drawing/2014/main" id="{4C1F345A-25E8-D747-F6A7-59384EBCC6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3276467"/>
            <a:ext cx="11053159" cy="2389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789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5075537C-CA84-1446-933C-8E9D027F920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Outline</a:t>
            </a:r>
          </a:p>
        </p:txBody>
      </p:sp>
      <p:sp>
        <p:nvSpPr>
          <p:cNvPr id="2" name="Rectangle 1">
            <a:hlinkClick r:id="" action="ppaction://noaction"/>
            <a:extLst>
              <a:ext uri="{FF2B5EF4-FFF2-40B4-BE49-F238E27FC236}">
                <a16:creationId xmlns:a16="http://schemas.microsoft.com/office/drawing/2014/main" id="{F7238590-FFAB-3F96-2DB3-9D5BC3A562C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Appendix</a:t>
            </a:r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284E5D2E-1A0F-F1E1-A4D4-4F01C984D5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6</a:t>
            </a:r>
          </a:p>
        </p:txBody>
      </p:sp>
      <p:sp>
        <p:nvSpPr>
          <p:cNvPr id="5" name="Rectangle 4">
            <a:hlinkClick r:id="rId16" action="ppaction://hlinksldjump"/>
            <a:extLst>
              <a:ext uri="{FF2B5EF4-FFF2-40B4-BE49-F238E27FC236}">
                <a16:creationId xmlns:a16="http://schemas.microsoft.com/office/drawing/2014/main" id="{6683FC3D-0012-4EBC-2145-769DE58F93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Conclusions</a:t>
            </a:r>
          </a:p>
        </p:txBody>
      </p:sp>
      <p:sp>
        <p:nvSpPr>
          <p:cNvPr id="6" name="Rectangle 5">
            <a:hlinkClick r:id="rId16" action="ppaction://hlinksldjump"/>
            <a:extLst>
              <a:ext uri="{FF2B5EF4-FFF2-40B4-BE49-F238E27FC236}">
                <a16:creationId xmlns:a16="http://schemas.microsoft.com/office/drawing/2014/main" id="{527BAEEC-4477-A9F9-3218-6CA132EE5B5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5</a:t>
            </a:r>
          </a:p>
        </p:txBody>
      </p:sp>
      <p:sp>
        <p:nvSpPr>
          <p:cNvPr id="7" name="Rectangle 6">
            <a:hlinkClick r:id="rId17" action="ppaction://hlinksldjump"/>
            <a:extLst>
              <a:ext uri="{FF2B5EF4-FFF2-40B4-BE49-F238E27FC236}">
                <a16:creationId xmlns:a16="http://schemas.microsoft.com/office/drawing/2014/main" id="{FBA2A8B8-DBE6-0DC4-7988-EFB91CD4FAF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Results</a:t>
            </a:r>
          </a:p>
        </p:txBody>
      </p:sp>
      <p:sp>
        <p:nvSpPr>
          <p:cNvPr id="8" name="Rectangle 7">
            <a:hlinkClick r:id="rId17" action="ppaction://hlinksldjump"/>
            <a:extLst>
              <a:ext uri="{FF2B5EF4-FFF2-40B4-BE49-F238E27FC236}">
                <a16:creationId xmlns:a16="http://schemas.microsoft.com/office/drawing/2014/main" id="{A09BD5FB-FBA3-97C1-0599-A807878EFF1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4</a:t>
            </a: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81DA26CB-67AD-3BE4-BD71-D23C628CDAC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Methodology</a:t>
            </a:r>
          </a:p>
        </p:txBody>
      </p:sp>
      <p:sp>
        <p:nvSpPr>
          <p:cNvPr id="11" name="Rectangle 10">
            <a:hlinkClick r:id="rId18" action="ppaction://hlinksldjump"/>
            <a:extLst>
              <a:ext uri="{FF2B5EF4-FFF2-40B4-BE49-F238E27FC236}">
                <a16:creationId xmlns:a16="http://schemas.microsoft.com/office/drawing/2014/main" id="{E9F67D80-DA3B-4C5E-2A96-9054BD95D12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3</a:t>
            </a:r>
          </a:p>
        </p:txBody>
      </p:sp>
      <p:sp>
        <p:nvSpPr>
          <p:cNvPr id="12" name="Rectangle 11">
            <a:hlinkClick r:id="rId19" action="ppaction://hlinksldjump"/>
            <a:extLst>
              <a:ext uri="{FF2B5EF4-FFF2-40B4-BE49-F238E27FC236}">
                <a16:creationId xmlns:a16="http://schemas.microsoft.com/office/drawing/2014/main" id="{C6B5E214-5B41-AC0C-2623-802CEB6ED6A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Introduction</a:t>
            </a:r>
          </a:p>
        </p:txBody>
      </p:sp>
      <p:sp>
        <p:nvSpPr>
          <p:cNvPr id="13" name="Rectangle 12">
            <a:hlinkClick r:id="rId19" action="ppaction://hlinksldjump"/>
            <a:extLst>
              <a:ext uri="{FF2B5EF4-FFF2-40B4-BE49-F238E27FC236}">
                <a16:creationId xmlns:a16="http://schemas.microsoft.com/office/drawing/2014/main" id="{D4418666-4699-90E8-3BCD-52CC18E600B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2</a:t>
            </a:r>
          </a:p>
        </p:txBody>
      </p:sp>
      <p:sp>
        <p:nvSpPr>
          <p:cNvPr id="14" name="Rectangle 13">
            <a:hlinkClick r:id="rId20" action="ppaction://hlinksldjump"/>
            <a:extLst>
              <a:ext uri="{FF2B5EF4-FFF2-40B4-BE49-F238E27FC236}">
                <a16:creationId xmlns:a16="http://schemas.microsoft.com/office/drawing/2014/main" id="{726234D5-7265-D1DF-A35C-D8467DEFF19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Ubuntu"/>
                <a:ea typeface="+mn-ea"/>
                <a:cs typeface="+mn-cs"/>
              </a:rPr>
              <a:t>Executive Summary</a:t>
            </a:r>
          </a:p>
        </p:txBody>
      </p:sp>
      <p:sp>
        <p:nvSpPr>
          <p:cNvPr id="15" name="Rectangle 14">
            <a:hlinkClick r:id="rId20" action="ppaction://hlinksldjump"/>
            <a:extLst>
              <a:ext uri="{FF2B5EF4-FFF2-40B4-BE49-F238E27FC236}">
                <a16:creationId xmlns:a16="http://schemas.microsoft.com/office/drawing/2014/main" id="{0A1E7774-D752-3513-1232-1A12E3191AC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240380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0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4811A61-F7FB-4B19-9ED1-E0E2554A5BE8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Success Rate vs. Orbit Type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5637C2A-CC88-C49A-CB8F-F2C792F202FC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05315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ar chart of Success Rate vs. Orbit Type shows that the following orbits have the highest (100%) success rat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-L1 (Earth-Sun First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grangia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Poin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 (Geostationary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EO (High Earth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SO (Sun-synchronous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with the lowest (0%) success rate i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O (Heliocentric Orbit)</a:t>
            </a:r>
          </a:p>
        </p:txBody>
      </p:sp>
      <p:pic>
        <p:nvPicPr>
          <p:cNvPr id="7" name="Picture 6" descr="A graph of blue bars&#10;&#10;AI-generated content may be incorrect.">
            <a:extLst>
              <a:ext uri="{FF2B5EF4-FFF2-40B4-BE49-F238E27FC236}">
                <a16:creationId xmlns:a16="http://schemas.microsoft.com/office/drawing/2014/main" id="{59563C34-D767-931C-C549-23EBA12AB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7001" y="2022924"/>
            <a:ext cx="5312675" cy="407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90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1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21C109C-C017-4D19-928F-AED25AC30125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light Number vs. Orbit Type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CEAF8B3-E051-EF21-98CD-3DAE925B6F8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05315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Flight number shows a few useful things that the previous plots did not, such a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re is little relationship between Flight Number and Success Rate for GT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 descr="A white background with dots&#10;&#10;AI-generated content may be incorrect.">
            <a:extLst>
              <a:ext uri="{FF2B5EF4-FFF2-40B4-BE49-F238E27FC236}">
                <a16:creationId xmlns:a16="http://schemas.microsoft.com/office/drawing/2014/main" id="{6BE59CAA-FA5B-9523-B364-0DCD1A177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3632751"/>
            <a:ext cx="11053159" cy="2392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727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2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FE7D9E4-306D-49E3-9AC4-15D566FC72A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ayload vs. Orbit Type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CC0C600-2D1D-FF2A-1A9E-6E158E28976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05315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orbit types have more success with heavy payloads: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O (although the number of data points is small)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SS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E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GTO, the relationship between payload mass and success rate is unclea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 descr="A white background with black text&#10;&#10;AI-generated content may be incorrect.">
            <a:extLst>
              <a:ext uri="{FF2B5EF4-FFF2-40B4-BE49-F238E27FC236}">
                <a16:creationId xmlns:a16="http://schemas.microsoft.com/office/drawing/2014/main" id="{E80B41A2-78E3-FCF6-1005-C29F1619E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13" y="3736648"/>
            <a:ext cx="11053159" cy="2392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40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F7889-073A-E045-A3F2-45D63BD0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3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35FD2D-1BD2-45D7-B015-1A96C241520B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Success Yearly Trend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B9B650D-5973-CD37-4468-6091AC998936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25913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ine chart of yearly average success rate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tween 2010 and 2013, all landings were unsuccessful (as the success rate is 0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3, the success rate generally increased, despite small dips in 2018 and 2020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6, there was always a greater than 50% chance of success.</a:t>
            </a:r>
          </a:p>
        </p:txBody>
      </p:sp>
      <p:pic>
        <p:nvPicPr>
          <p:cNvPr id="7" name="Picture 6" descr="A graph with a line going up&#10;&#10;AI-generated content may be incorrect.">
            <a:extLst>
              <a:ext uri="{FF2B5EF4-FFF2-40B4-BE49-F238E27FC236}">
                <a16:creationId xmlns:a16="http://schemas.microsoft.com/office/drawing/2014/main" id="{A39C1B9C-8B72-DBD6-7F11-75771991F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3741" y="2039364"/>
            <a:ext cx="5312675" cy="407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944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4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6E60219-AE1B-47B6-9A1D-F2865D04BE52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ll Launch Site Name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D189CB8-6B98-DE3F-8C41-F697C98ED308}"/>
              </a:ext>
            </a:extLst>
          </p:cNvPr>
          <p:cNvSpPr txBox="1">
            <a:spLocks/>
          </p:cNvSpPr>
          <p:nvPr/>
        </p:nvSpPr>
        <p:spPr>
          <a:xfrm>
            <a:off x="404814" y="1447800"/>
            <a:ext cx="11382374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names of the unique launch sit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wor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NIQU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turns only unique values from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_SIT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PACEXTBL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able.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A3DF8E42-5BA6-621E-681E-A7EFB7D7E63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26D11A-6D48-6F10-6514-1F7DBD7634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7327" y="3158429"/>
            <a:ext cx="6449816" cy="54114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71FAC87-DE1C-26DB-A653-D2CE2722C0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6539" y="2743200"/>
            <a:ext cx="1123950" cy="137160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278509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5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7C8CBA-1A0E-4CDF-A451-7AAA44D39839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Site Names Begin with 'CCA'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AEDE264-BAD1-0E43-54B8-78E3835ADC9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5 records where launch sites begin with ‘CCA’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MIT 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etches only 5 records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with the wild car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78986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‘CCA%’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 retrieve string values beginning with ‘CCA’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C7DE729-7827-E006-E64C-2C19480EA9B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7A8F25-3F36-E72D-9D6B-DC53326C67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011" y="3186684"/>
            <a:ext cx="7280751" cy="4846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560F3BA-1662-57E8-7B65-1DF5BFCD34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9309" y="2619375"/>
            <a:ext cx="1019175" cy="16192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947386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6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D161C47-0660-416F-B4C2-25E4D35D69F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Total Payload Mas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5C9B40F-792D-04F8-EFCA-67DF70F826E7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payload carried by boosters from NAS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calculate the total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boosters from NASA (CRS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9CA95B86-B20A-00A7-EA74-181EAB4C0F42}"/>
              </a:ext>
            </a:extLst>
          </p:cNvPr>
          <p:cNvSpPr/>
          <p:nvPr/>
        </p:nvSpPr>
        <p:spPr>
          <a:xfrm>
            <a:off x="7847125" y="3174597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C7CF0F-C206-CB69-9145-E68154EE7C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241" y="2953840"/>
            <a:ext cx="5550420" cy="95032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2C0771-CAF6-8436-8AF0-F9AE9AE421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622" y="3097825"/>
            <a:ext cx="2038350" cy="63817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10014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7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FD52E17-48CB-4D60-BD56-71D197A29B38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verage Payload Mass by F9 v1.1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99783BB-80C5-60A6-CA8D-D5DF3CF0A3DA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average payload mass carried by booster version F9 v1.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VG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calculate the average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AYLOAD_MASS__KG_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 Medium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F9 v1.1 booster vers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1D86AFF8-4550-BA02-EA04-C72032E0D247}"/>
              </a:ext>
            </a:extLst>
          </p:cNvPr>
          <p:cNvSpPr/>
          <p:nvPr/>
        </p:nvSpPr>
        <p:spPr>
          <a:xfrm>
            <a:off x="7079493" y="3199639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230923-1526-61DC-65EB-70FA9107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071" y="2837887"/>
            <a:ext cx="3967022" cy="118222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892D29-D24A-2210-37C0-E8FD6BBAD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1009" y="3122868"/>
            <a:ext cx="1990725" cy="63817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355605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8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F12CD3C-55B3-4129-817A-84D0B28F713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First Successful Ground Landing Dat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88AC1B5-BF7A-C209-490B-A01BEEB3CA2E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dates of the first successful landing outcome on ground pa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I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calculate the minimum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i.e. the first date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successful ground pad landing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AAD0F16A-1AE5-50E7-4DE6-4A148BEE097C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1E2243-F380-2B69-3A32-039B3DE1E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774" y="2970549"/>
            <a:ext cx="7125312" cy="91690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3F5926-AD1D-30C4-D261-68085F9EB3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5905" y="3157536"/>
            <a:ext cx="971550" cy="5429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4346799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29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2C2E9C-C6BE-40BD-A406-CFB441363CB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Successful Drone Ship Landing with Payload between 4000 and 6000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D684FA2-C0A9-D5EB-3F82-7244E8927401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boosters which have successfully landed on drone ship and had payload mass greater than 4000 but less than 600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filter the results to include only those that satisfy both conditions in the brackets (as 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also used).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allows for 4000 &lt; x &lt; 6000 values to be selec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1310662-320E-BC92-2E29-B6D5F0F2D112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FF9296-7596-177C-8170-44F5575654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93" y="3157180"/>
            <a:ext cx="7580326" cy="54364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B7FC8FE-FC6A-EF1A-0F4F-3CF665524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563" y="2619375"/>
            <a:ext cx="1219200" cy="16192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6393995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075537C-CA84-1446-933C-8E9D027F9201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Executive Summary</a:t>
            </a:r>
            <a:endParaRPr lang="en-US">
              <a:solidFill>
                <a:srgbClr val="0B49CB"/>
              </a:solidFill>
            </a:endParaRPr>
          </a:p>
        </p:txBody>
      </p:sp>
      <p:sp>
        <p:nvSpPr>
          <p:cNvPr id="27" name="Espace réservé du texte 8">
            <a:extLst>
              <a:ext uri="{FF2B5EF4-FFF2-40B4-BE49-F238E27FC236}">
                <a16:creationId xmlns:a16="http://schemas.microsoft.com/office/drawing/2014/main" id="{3ED7D6F3-E90D-E763-17F1-DBBDA2E72789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662729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mmary of Methodologies:</a:t>
            </a:r>
          </a:p>
          <a:p>
            <a:pPr marL="1841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follows these steps: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Collection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Wrangling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Visual Analytic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 (Classification)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mmary of Results:</a:t>
            </a:r>
          </a:p>
          <a:p>
            <a:pPr marL="1841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produced the following outputs and visualizations: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 (EDA) results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spatial analytic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dashboard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 of classification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54277D9-37B0-667D-5C47-FED61A5C11E5}"/>
              </a:ext>
            </a:extLst>
          </p:cNvPr>
          <p:cNvSpPr/>
          <p:nvPr/>
        </p:nvSpPr>
        <p:spPr>
          <a:xfrm>
            <a:off x="5839847" y="1469481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3AF692E-DF9C-E665-6526-4561B6E102FD}"/>
              </a:ext>
            </a:extLst>
          </p:cNvPr>
          <p:cNvSpPr/>
          <p:nvPr/>
        </p:nvSpPr>
        <p:spPr>
          <a:xfrm>
            <a:off x="8812396" y="1469481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0F8528B-F155-52FB-77B6-884C17120F47}"/>
              </a:ext>
            </a:extLst>
          </p:cNvPr>
          <p:cNvSpPr/>
          <p:nvPr/>
        </p:nvSpPr>
        <p:spPr>
          <a:xfrm>
            <a:off x="5839847" y="3764442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DFAF963-F5BE-FD22-8B9D-5D72B585CF6B}"/>
              </a:ext>
            </a:extLst>
          </p:cNvPr>
          <p:cNvSpPr/>
          <p:nvPr/>
        </p:nvSpPr>
        <p:spPr>
          <a:xfrm>
            <a:off x="8829389" y="3764442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A783FC-76CE-28AD-9CFC-73C1BB6A28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8894" y="1723228"/>
            <a:ext cx="2469879" cy="18959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1B531D4-25E4-83F9-86CE-7165E34E35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617" y="1685804"/>
            <a:ext cx="2429776" cy="18959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201082-190A-6E7C-4855-564BB39908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5075" y="4048902"/>
            <a:ext cx="2657321" cy="15469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4D79640-8B45-6FE8-DACC-9463E6A8FE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72384" y="4048902"/>
            <a:ext cx="2285588" cy="196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2214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0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B32320-42D4-49FA-8047-C080B444B3A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Total Number of Successful and Failure Mission Outcome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3AB6440-C738-2C4C-C0FD-297E1F092F10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number of successful and failure mission outco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UN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calculate the total number of mission outcomes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also used to group these results by the type of mission outcome.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0DCEA0F9-EF09-CFF0-39DD-BDAF8612B953}"/>
              </a:ext>
            </a:extLst>
          </p:cNvPr>
          <p:cNvSpPr/>
          <p:nvPr/>
        </p:nvSpPr>
        <p:spPr>
          <a:xfrm>
            <a:off x="7480107" y="3186683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E778AF-9E29-C687-B88D-7D9B3928D1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060" y="3109912"/>
            <a:ext cx="5638800" cy="6381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3B5F9D6-4A1C-C9F6-CDBC-1D16C908E9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4522" y="2738437"/>
            <a:ext cx="2657475" cy="13811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569726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1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A7EB98F-A25F-4357-9775-478FC17F7F83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Boosters Carried Maximum Payload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CB6DFA6-B08C-D3A2-C48F-B4384223A6E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92195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 which have carried the maximum payload mas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 subquery is used here.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atement within the brackets finds the maximum payload, and this value is used in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dition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9FB5C7DA-9A40-9BF1-077C-4C0E5A5F373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4C8021-979D-8BA5-6436-AC393CA9B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961" y="3042169"/>
            <a:ext cx="7173947" cy="7736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80FADBA-4571-7F01-EA21-54FB41780B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5195" y="1709736"/>
            <a:ext cx="1276350" cy="34385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666463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2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4DA114-677C-40D8-8FFA-43531834CFB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2015 Launch Record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53A9F21-2AB9-B5DD-6BA4-C7DD53A0E0DC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records which will display the month names, failur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nding_outcom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n drone ship , booster versions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unch_sit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for the months in year 2015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to filter the results for only failed landing outcomes,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nly for the year of 20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DF8818F-5D7C-5186-C6CA-BAFC1843EB57}"/>
              </a:ext>
            </a:extLst>
          </p:cNvPr>
          <p:cNvSpPr/>
          <p:nvPr/>
        </p:nvSpPr>
        <p:spPr>
          <a:xfrm>
            <a:off x="7736364" y="3184685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8116EA-91A6-B54C-B36F-3857E11226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260" y="3096877"/>
            <a:ext cx="6394248" cy="72993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3E0B53D-FC5E-1EDC-3201-D6D4468E74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9417" y="3184685"/>
            <a:ext cx="2617187" cy="47768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984391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28596A-0847-664A-9D47-5096383E5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3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4523243-E4D6-45EC-97C8-D44398FB7417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Rank Landing Outcomes Between 2010-06-04 and 2017-03-20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44570C9-90E4-21BA-94E7-2E33842227FA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is used with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to filter the results to dates only within those specified. The results are then grouped and ordered, using the keyword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 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RDER B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respectively, wher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ESC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s used to specify the descending order.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0531B53E-89B2-D868-CC79-62DC4CB13A38}"/>
              </a:ext>
            </a:extLst>
          </p:cNvPr>
          <p:cNvSpPr/>
          <p:nvPr/>
        </p:nvSpPr>
        <p:spPr>
          <a:xfrm>
            <a:off x="7523642" y="3178425"/>
            <a:ext cx="978408" cy="484632"/>
          </a:xfrm>
          <a:prstGeom prst="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4790E25-6DF4-B1DA-66DC-00534ADC0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4936" y="2707983"/>
            <a:ext cx="4787550" cy="14420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7107452-9852-F25A-1E95-5B4EB7426D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3207" y="2230785"/>
            <a:ext cx="2181225" cy="24098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9751684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B25EC16-0638-FF41-B7CF-E42224EF7FA1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10233524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176327-8CC4-4356-8BBB-DC4965CE9857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ll Launch Sites on a Map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2461BE0-F619-9E01-1298-0AFDAF9ED267}"/>
              </a:ext>
            </a:extLst>
          </p:cNvPr>
          <p:cNvSpPr txBox="1">
            <a:spLocks/>
          </p:cNvSpPr>
          <p:nvPr/>
        </p:nvSpPr>
        <p:spPr>
          <a:xfrm>
            <a:off x="404813" y="4458153"/>
            <a:ext cx="6051227" cy="21297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l SpaceX launch sites are on coasts of the United States of America, specifically Florida and Californi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1C8079-8017-395A-769D-A254E9A402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73C928-019A-D8B6-7CD8-FAB70C91A7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8EAC322-91B8-D74B-D952-63C8105C89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6D01C1-DCD5-480B-5246-EC3A4C5D60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FD31A1F-63A3-9262-14FA-3589F45287CB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50654E1-1C3F-1DAB-8C77-3AB445E20C35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735ED4-769B-F89B-B6B1-79F8438B9530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9816717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6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E0ECA32-E146-40DA-85CD-9677244BC3EC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Success/Failed Launches From Each Sit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B227A6F-94E8-9ECB-B3FA-80DE24A52615}"/>
              </a:ext>
            </a:extLst>
          </p:cNvPr>
          <p:cNvSpPr txBox="1">
            <a:spLocks/>
          </p:cNvSpPr>
          <p:nvPr/>
        </p:nvSpPr>
        <p:spPr>
          <a:xfrm>
            <a:off x="6607174" y="1447801"/>
            <a:ext cx="5203825" cy="21390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unches have been grouped into clusters, and annotated with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58A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reen icon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successful launches, an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05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d icon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failed launch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90F86F-40C6-2044-4ED8-451B33C944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6186D9-60D9-A1F0-D1B8-3A1FA8988F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731F48-3D85-5971-604C-C0B9B195553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4AC89A-0F9A-C010-6FF4-703C8196F9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05AD74-FDF8-9EB1-6924-713C5885F4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E964226-4066-72A9-BCB6-1BC96D0F4B52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497DF34-7C2E-9652-DDD6-59F0ABF1070E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C59AE3C-C8B2-4377-FF21-6D57BD461C5D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899977-E94B-EAF6-64B6-7B1FD838B571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i="1" smtClean="0">
                          <a:solidFill>
                            <a:srgbClr val="12ABD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rgbClr val="12ABDB"/>
                  </a:solidFill>
                  <a:latin typeface="Ubuntu"/>
                </a:endParaRPr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899977-E94B-EAF6-64B6-7B1FD838B5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8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sl-S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A76B911E-028E-BD26-32F2-E8546ADF1EDB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Ubuntu"/>
              </a:rPr>
              <a:t>CCAFS SLC-40 and CCAFS LC-4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B83E0D-F13C-F3C4-F7D9-CF34FC2DAC44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Ubuntu"/>
              </a:rPr>
              <a:t>KSC LC-39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59DF60B-7BAE-FDC0-EA4D-B403C6906332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Ubuntu"/>
              </a:rPr>
              <a:t>VAFB SLC-4E</a:t>
            </a:r>
          </a:p>
        </p:txBody>
      </p:sp>
    </p:spTree>
    <p:extLst>
      <p:ext uri="{BB962C8B-B14F-4D97-AF65-F5344CB8AC3E}">
        <p14:creationId xmlns:p14="http://schemas.microsoft.com/office/powerpoint/2010/main" val="2395978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7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C97452-C78A-4701-B8AB-ABFE63D5BED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roximity of Launches to Other Points of Interest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9C425D-963C-1829-EE95-BD8E76211850}"/>
              </a:ext>
            </a:extLst>
          </p:cNvPr>
          <p:cNvSpPr txBox="1">
            <a:spLocks/>
          </p:cNvSpPr>
          <p:nvPr/>
        </p:nvSpPr>
        <p:spPr>
          <a:xfrm>
            <a:off x="7968208" y="1357871"/>
            <a:ext cx="3826538" cy="21114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coastline is only 0.87 km due Ea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high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highway is only 0.59km awa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railway is only 1.29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o launch sites keep certain distance away from citie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city is 51.74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9D81E8-B01D-5DEA-C255-D139738942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3559832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94B9CA-9C3B-8FCD-45CF-12BC8D4FF4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8208" y="3559832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D55643B-1BE3-31C2-D6EA-15CF0A3EB1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8760" y="1387637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23EC4A-0027-3F72-3B88-10DB5B750057}"/>
              </a:ext>
            </a:extLst>
          </p:cNvPr>
          <p:cNvSpPr txBox="1"/>
          <p:nvPr/>
        </p:nvSpPr>
        <p:spPr>
          <a:xfrm>
            <a:off x="479376" y="1357871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latin typeface="Ubuntu"/>
              </a:rPr>
              <a:t>Using the </a:t>
            </a:r>
            <a:r>
              <a:rPr lang="en-GB" sz="1600" dirty="0">
                <a:solidFill>
                  <a:srgbClr val="12ABDB"/>
                </a:solidFill>
                <a:latin typeface="Ubuntu"/>
              </a:rPr>
              <a:t>CCAFS SLC-40 </a:t>
            </a:r>
            <a:r>
              <a:rPr lang="en-GB" sz="1600" dirty="0">
                <a:latin typeface="Ubuntu"/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23249908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8BBD4D-F87B-2648-91EB-CF6A4BF6870A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7334617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39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456A072-47A6-4424-9ABE-F398119040DD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Success Count For All Sit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8B0725-DD11-A072-A445-EB39D9A46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EBD88B5-D63C-36A6-F811-26F7E717D4ED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ad the most successful launches, with 41.7% of the total successful launches.</a:t>
            </a:r>
          </a:p>
        </p:txBody>
      </p:sp>
    </p:spTree>
    <p:extLst>
      <p:ext uri="{BB962C8B-B14F-4D97-AF65-F5344CB8AC3E}">
        <p14:creationId xmlns:p14="http://schemas.microsoft.com/office/powerpoint/2010/main" val="700132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03FD9-22AB-4833-9FE0-E1E67C968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075537C-CA84-1446-933C-8E9D027F9201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A66F18-AF00-434A-AB3C-61097BEAE5FA}"/>
              </a:ext>
            </a:extLst>
          </p:cNvPr>
          <p:cNvSpPr txBox="1">
            <a:spLocks/>
          </p:cNvSpPr>
          <p:nvPr/>
        </p:nvSpPr>
        <p:spPr>
          <a:xfrm>
            <a:off x="828068" y="538650"/>
            <a:ext cx="10530114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Introduction</a:t>
            </a:r>
            <a:endParaRPr lang="en-US">
              <a:solidFill>
                <a:srgbClr val="0B49CB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73FBF1E-BBFF-729C-D71B-0280E4E7EAF3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0530114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latin typeface="Ubuntu"/>
              </a:rPr>
              <a:t>Project background and context:</a:t>
            </a:r>
          </a:p>
          <a:p>
            <a:pPr marL="520700" lvl="1" indent="-342900"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Ubuntu"/>
              </a:rPr>
              <a:t>SpaceX launches Falcon 9 rockets at a cost of around $62m. This is considerably cheaper than other providers (which usually cost upwards of $165m), and much of the savings are because SpaceX can land and then re-use the first stage of the rocket.</a:t>
            </a: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520700" lvl="1" indent="-342900"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latin typeface="Ubuntu"/>
              </a:rPr>
              <a:t>If we can make predictions on whether the first stage will land, we can determine the cost of a launch and use this information to assess whether or not an alternate company should bid and SpaceX for a rocket launch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latin typeface="Ubuntu"/>
              </a:rPr>
              <a:t>Project goal:</a:t>
            </a:r>
          </a:p>
          <a:p>
            <a:pPr marL="520700" lvl="1" indent="-342900">
              <a:buFont typeface="Arial" panose="020B0604020202020204" pitchFamily="34" charset="0"/>
              <a:buChar char="•"/>
              <a:defRPr/>
            </a:pPr>
            <a:r>
              <a:rPr lang="en-GB" sz="1600" dirty="0">
                <a:solidFill>
                  <a:srgbClr val="12ABDB"/>
                </a:solidFill>
                <a:latin typeface="Ubuntu"/>
              </a:rPr>
              <a:t>Predict if the Space X Falcon 9 first stage will land successfully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5600613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0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F94599-779E-457E-B57B-6063EBF7A840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Pie Chart For The Launch Site With Highest Success Rati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67C7C8-8030-6ECB-2714-D851E1B62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C0B1CCA-3B37-AD1E-81CF-9E01EED684FB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/>
                </a:solidFill>
                <a:latin typeface="Ubuntu"/>
              </a:rPr>
              <a:t>The launch site </a:t>
            </a:r>
            <a:r>
              <a:rPr lang="en-GB" dirty="0">
                <a:solidFill>
                  <a:srgbClr val="12ABDB"/>
                </a:solidFill>
                <a:latin typeface="Ubuntu"/>
              </a:rPr>
              <a:t>KSC LC-39 A</a:t>
            </a:r>
            <a:r>
              <a:rPr lang="en-GB" dirty="0">
                <a:solidFill>
                  <a:srgbClr val="FFFFFF"/>
                </a:solidFill>
                <a:latin typeface="Ubuntu"/>
              </a:rPr>
              <a:t> </a:t>
            </a:r>
            <a:r>
              <a:rPr lang="en-GB" dirty="0">
                <a:solidFill>
                  <a:schemeClr val="tx1"/>
                </a:solidFill>
                <a:latin typeface="Ubuntu"/>
              </a:rPr>
              <a:t>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18661607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82F32A-22A5-0046-9FAC-5295E4FA5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1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D271BF5-BAA1-4CEB-A575-76A097FABBBA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Launch Outcome VS Payload Scatter Plot For All Sit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E78098-7B9A-D56D-3A0A-728AD8C10A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11"/>
          <a:stretch/>
        </p:blipFill>
        <p:spPr>
          <a:xfrm>
            <a:off x="7365138" y="1345185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2339D62-569E-0136-B2E2-E2CE986F33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555"/>
          <a:stretch/>
        </p:blipFill>
        <p:spPr>
          <a:xfrm>
            <a:off x="7396716" y="4080159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C6693D5-B4D0-761C-54B3-A8DCF08F71EA}"/>
              </a:ext>
            </a:extLst>
          </p:cNvPr>
          <p:cNvSpPr txBox="1">
            <a:spLocks/>
          </p:cNvSpPr>
          <p:nvPr/>
        </p:nvSpPr>
        <p:spPr>
          <a:xfrm>
            <a:off x="404814" y="4503992"/>
            <a:ext cx="5968594" cy="20319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launch outcome vs. payload for all sites shows a gap around 4000 kg, so it makes sense to split the data into 2 ranges: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 – 4000 kg (low payloads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000 – 10000 kg (massive payload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rom these 2 plots, it can be shown tha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is lower than that for low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is also worth noting that some booster types (v1.0 and B5) have not been launched with massive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B32CA9-6880-F713-8251-63EB2A314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438" y="1344648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441A6EF-84E6-1ADE-F574-DF082904C228}"/>
              </a:ext>
            </a:extLst>
          </p:cNvPr>
          <p:cNvCxnSpPr>
            <a:cxnSpLocks/>
          </p:cNvCxnSpPr>
          <p:nvPr/>
        </p:nvCxnSpPr>
        <p:spPr>
          <a:xfrm flipV="1">
            <a:off x="3317356" y="2146072"/>
            <a:ext cx="0" cy="1927147"/>
          </a:xfrm>
          <a:prstGeom prst="line">
            <a:avLst/>
          </a:prstGeom>
          <a:noFill/>
          <a:ln w="19050" cap="flat" cmpd="sng" algn="ctr">
            <a:solidFill>
              <a:srgbClr val="12ABDB"/>
            </a:solidFill>
            <a:prstDash val="dash"/>
            <a:miter lim="800000"/>
          </a:ln>
          <a:effectLst/>
        </p:spPr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A1A18004-9FAD-652F-015F-08939E17E620}"/>
              </a:ext>
            </a:extLst>
          </p:cNvPr>
          <p:cNvSpPr/>
          <p:nvPr/>
        </p:nvSpPr>
        <p:spPr>
          <a:xfrm>
            <a:off x="1498304" y="2901405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E08773F-43BC-FB48-97A7-1A2D7E3B4331}"/>
              </a:ext>
            </a:extLst>
          </p:cNvPr>
          <p:cNvSpPr/>
          <p:nvPr/>
        </p:nvSpPr>
        <p:spPr>
          <a:xfrm>
            <a:off x="3477859" y="2898893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46A4EAE-96F8-AC6F-F256-2516B397A314}"/>
              </a:ext>
            </a:extLst>
          </p:cNvPr>
          <p:cNvSpPr/>
          <p:nvPr/>
        </p:nvSpPr>
        <p:spPr>
          <a:xfrm>
            <a:off x="7183013" y="1191380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8D492F2-3213-099C-19F6-9A8D168A8B02}"/>
              </a:ext>
            </a:extLst>
          </p:cNvPr>
          <p:cNvSpPr/>
          <p:nvPr/>
        </p:nvSpPr>
        <p:spPr>
          <a:xfrm>
            <a:off x="7221138" y="3903705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D31DF2-7BD9-5C98-E9F3-51B4ACDFFC0B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prstClr val="black"/>
                </a:solidFill>
                <a:latin typeface="Ubuntu"/>
              </a:rPr>
              <a:t>Low payloa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6D0681-3E58-2CB2-D574-7BC02BAE36D0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prstClr val="black"/>
                </a:solidFill>
                <a:latin typeface="Ubuntu"/>
              </a:rPr>
              <a:t>Massive payloads</a:t>
            </a:r>
          </a:p>
        </p:txBody>
      </p:sp>
    </p:spTree>
    <p:extLst>
      <p:ext uri="{BB962C8B-B14F-4D97-AF65-F5344CB8AC3E}">
        <p14:creationId xmlns:p14="http://schemas.microsoft.com/office/powerpoint/2010/main" val="2523596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7DFD2-2B76-8445-A1BD-6628DC42C398}"/>
              </a:ext>
            </a:extLst>
          </p:cNvPr>
          <p:cNvSpPr txBox="1"/>
          <p:nvPr/>
        </p:nvSpPr>
        <p:spPr>
          <a:xfrm>
            <a:off x="797970" y="2529746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129039413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C985E-BCEF-DD49-BB47-C4649A79F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3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68D8986-45AC-4FB5-96E8-C45F9603EB5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lassification Accuracy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A9CC02C-04DD-3ADC-7713-73C3CD94BA7C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6191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Accuracy Score for each classification algorithm produces the following resul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 has the highest classification accuracy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Accuracy Score is 87.68%</a:t>
            </a:r>
          </a:p>
        </p:txBody>
      </p:sp>
      <p:pic>
        <p:nvPicPr>
          <p:cNvPr id="10" name="Picture 9" descr="A graph of a classification model&#10;&#10;AI-generated content may be incorrect.">
            <a:extLst>
              <a:ext uri="{FF2B5EF4-FFF2-40B4-BE49-F238E27FC236}">
                <a16:creationId xmlns:a16="http://schemas.microsoft.com/office/drawing/2014/main" id="{4BE495D0-F4CE-10E9-725F-8AA1D06FA2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677" y="1447800"/>
            <a:ext cx="5184658" cy="41605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682FB9F-9F27-71FB-5DAC-8ED531DDA0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6274" y="3984655"/>
            <a:ext cx="1560232" cy="1560232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45944607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C985E-BCEF-DD49-BB47-C4649A79F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4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3106AC-60D7-46AE-8E64-7B84ABDBD099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onfusion Matrix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649BCD3-4C80-300E-F58C-C75437F06788}"/>
              </a:ext>
            </a:extLst>
          </p:cNvPr>
          <p:cNvSpPr txBox="1">
            <a:spLocks/>
          </p:cNvSpPr>
          <p:nvPr/>
        </p:nvSpPr>
        <p:spPr>
          <a:xfrm>
            <a:off x="6528048" y="1447800"/>
            <a:ext cx="5282952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shown previously, best performing classification model is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, with an accuracy of 87.68%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is explained by the confusion matrix, which shows only 3 out of 18 total results classified incorrectly (a false positive, shown in the top-right corner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ther 15 results are correctly classified (3 did not land, 12 did land).</a:t>
            </a:r>
          </a:p>
        </p:txBody>
      </p:sp>
      <p:pic>
        <p:nvPicPr>
          <p:cNvPr id="7" name="Picture 6" descr="A diagram of different colored squares&#10;&#10;AI-generated content may be incorrect.">
            <a:extLst>
              <a:ext uri="{FF2B5EF4-FFF2-40B4-BE49-F238E27FC236}">
                <a16:creationId xmlns:a16="http://schemas.microsoft.com/office/drawing/2014/main" id="{3EB7D3F8-F936-F64B-8817-A8292DFE91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048" y="1447800"/>
            <a:ext cx="5282952" cy="453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42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A56319-AADE-D741-AA33-1311B7CA8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5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B98079A-48C6-4E10-8AB1-B940BD1E42DF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Conclusions</a:t>
            </a:r>
            <a:endParaRPr lang="en-US">
              <a:solidFill>
                <a:srgbClr val="0B49CB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2636329-0B29-87C7-D60D-B4E8136E9AF7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806624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tween 2010 and 2013, all landings were unsuccessful (as the success rate is 0)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3, the success rate generally increased, despite small dips in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018 and 2020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6, there was always a greater than 50% chance of succes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bit types ES-L1, GEO, HEO, and SSO, have the highest (100%) success rate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types PO, ISS, and LEO, have more success with heavy payloads: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ad the most successful launches, with 41.7% of the total successful launches, and also the highest rate of successful launches, with a 76.9% success rat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(over 4000kg) is lower than that for low payload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est performing classification model is the Decision Tree model, with an accuracy of 87.68%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5" name="Picture 14" descr="A diagram of different colored squares&#10;&#10;AI-generated content may be incorrect.">
            <a:extLst>
              <a:ext uri="{FF2B5EF4-FFF2-40B4-BE49-F238E27FC236}">
                <a16:creationId xmlns:a16="http://schemas.microsoft.com/office/drawing/2014/main" id="{9A21D126-9DED-0296-805D-30817A4AE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0963" y="5122208"/>
            <a:ext cx="1394473" cy="1197142"/>
          </a:xfrm>
          <a:prstGeom prst="rect">
            <a:avLst/>
          </a:prstGeom>
        </p:spPr>
      </p:pic>
      <p:pic>
        <p:nvPicPr>
          <p:cNvPr id="17" name="Picture 16" descr="A screen shot of a graph&#10;&#10;AI-generated content may be incorrect.">
            <a:extLst>
              <a:ext uri="{FF2B5EF4-FFF2-40B4-BE49-F238E27FC236}">
                <a16:creationId xmlns:a16="http://schemas.microsoft.com/office/drawing/2014/main" id="{B6576DE1-C4BA-D6BA-7EC0-16BBB070FD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0602" y="2685098"/>
            <a:ext cx="2124290" cy="1003388"/>
          </a:xfrm>
          <a:prstGeom prst="rect">
            <a:avLst/>
          </a:prstGeom>
        </p:spPr>
      </p:pic>
      <p:pic>
        <p:nvPicPr>
          <p:cNvPr id="19" name="Picture 18" descr="A graph of blue bars&#10;&#10;AI-generated content may be incorrect.">
            <a:extLst>
              <a:ext uri="{FF2B5EF4-FFF2-40B4-BE49-F238E27FC236}">
                <a16:creationId xmlns:a16="http://schemas.microsoft.com/office/drawing/2014/main" id="{B1A1AC6A-EE74-EDFF-D6D5-A26C155E61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087" y="2675093"/>
            <a:ext cx="1333171" cy="1023398"/>
          </a:xfrm>
          <a:prstGeom prst="rect">
            <a:avLst/>
          </a:prstGeom>
        </p:spPr>
      </p:pic>
      <p:pic>
        <p:nvPicPr>
          <p:cNvPr id="21" name="Picture 20" descr="A graph of a classification model&#10;&#10;AI-generated content may be incorrect.">
            <a:extLst>
              <a:ext uri="{FF2B5EF4-FFF2-40B4-BE49-F238E27FC236}">
                <a16:creationId xmlns:a16="http://schemas.microsoft.com/office/drawing/2014/main" id="{C8F4D3DE-F660-5226-3BB4-90BDD93559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5422" y="5122208"/>
            <a:ext cx="1491823" cy="1197142"/>
          </a:xfrm>
          <a:prstGeom prst="rect">
            <a:avLst/>
          </a:prstGeom>
        </p:spPr>
      </p:pic>
      <p:pic>
        <p:nvPicPr>
          <p:cNvPr id="23" name="Picture 22" descr="A graph with a line going up&#10;&#10;AI-generated content may be incorrect.">
            <a:extLst>
              <a:ext uri="{FF2B5EF4-FFF2-40B4-BE49-F238E27FC236}">
                <a16:creationId xmlns:a16="http://schemas.microsoft.com/office/drawing/2014/main" id="{8E406F48-C9BA-E13E-0EFE-6877CFF743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24941" y="1328521"/>
            <a:ext cx="1505449" cy="1155646"/>
          </a:xfrm>
          <a:prstGeom prst="rect">
            <a:avLst/>
          </a:prstGeom>
        </p:spPr>
      </p:pic>
      <p:pic>
        <p:nvPicPr>
          <p:cNvPr id="32" name="Picture 31" descr="A white rectangular object with colorful dots&#10;&#10;AI-generated content may be incorrect.">
            <a:extLst>
              <a:ext uri="{FF2B5EF4-FFF2-40B4-BE49-F238E27FC236}">
                <a16:creationId xmlns:a16="http://schemas.microsoft.com/office/drawing/2014/main" id="{EA44F8EB-796D-6E92-B0F7-642319DD2D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09218" y="3859250"/>
            <a:ext cx="3601956" cy="9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12361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25D5A-386D-C541-9D42-BBDEA8228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46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0F8A56C-5EE1-4DBF-842D-C2A130AA680E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Appendix</a:t>
            </a:r>
            <a:endParaRPr lang="en-US" dirty="0">
              <a:solidFill>
                <a:srgbClr val="0B4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085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04074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BF29A-91D2-784B-9589-F5A388316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5075537C-CA84-1446-933C-8E9D027F9201}" type="slidenum">
              <a:rPr lang="en-US" smtClean="0"/>
              <a:t>5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393D11-6810-B94E-A01A-A2D00E82E738}"/>
              </a:ext>
            </a:extLst>
          </p:cNvPr>
          <p:cNvSpPr txBox="1"/>
          <p:nvPr/>
        </p:nvSpPr>
        <p:spPr>
          <a:xfrm>
            <a:off x="765313" y="2812774"/>
            <a:ext cx="1058303" cy="369332"/>
          </a:xfrm>
          <a:prstGeom prst="rect">
            <a:avLst/>
          </a:prstGeom>
          <a:solidFill>
            <a:srgbClr val="0948CB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093198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92CF01-5F8F-9D43-96B9-A581954BA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6</a:t>
            </a:fld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3C62649-0825-4926-8E2A-2EBCCFE00ECC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Methodology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D86258A-BE28-7D85-DD59-463EABBEBC78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11406187" cy="4951413"/>
          </a:xfrm>
          <a:prstGeom prst="rect">
            <a:avLst/>
          </a:prstGeom>
        </p:spPr>
        <p:txBody>
          <a:bodyPr vert="horz" lIns="0" tIns="0" rIns="0" bIns="0" numCol="2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Collec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aking GET requests to the SpaceX REST API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Web Scraping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Wrangling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illn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ethod to remov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a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value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th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value_coun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ethod to determine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of launches on each site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each orbit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umber and occurrence of mission outcome per orbit type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ing a landing outcome label that shows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 when the booster did not land successfully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 when the booster did land successful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SQL queries to manipulate and evaluate the SpaceX dataset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Pandas and Matplotlib to visualize relationships between variables, and determine patter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Visual Analytic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spatial analytics using Folium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reating an interactive dashboard using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ash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Modelling and Evalua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ing Scikit-Learn to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-process (standardize) the data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plit the data into training and testing data using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rain_test_spli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rain different classification models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hyperparameters using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idSearchCV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confusion matrices for each classification mode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sessing the accuracy of each classification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34327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D0411-8FF8-C540-84AE-DBA0703D3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7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066AA34-20EE-4A59-B343-346A8DB5667C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Collection – SpaceX AP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55E515-6716-089C-CA0A-31F67440545B}"/>
              </a:ext>
            </a:extLst>
          </p:cNvPr>
          <p:cNvSpPr txBox="1"/>
          <p:nvPr/>
        </p:nvSpPr>
        <p:spPr>
          <a:xfrm>
            <a:off x="154062" y="1264502"/>
            <a:ext cx="58593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013687B-E323-35FF-80B0-1695A6AE0DAD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ABEE556-F843-95AE-A3A9-5BB8F059CBCF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5344873-B198-CC1B-92D1-E94FA472E4FE}"/>
              </a:ext>
            </a:extLst>
          </p:cNvPr>
          <p:cNvSpPr/>
          <p:nvPr/>
        </p:nvSpPr>
        <p:spPr>
          <a:xfrm>
            <a:off x="5923081" y="5012174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1408F9-F1E2-1AD2-709D-04EDA43D4BC2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6369D9A-CDFF-8D21-69AF-E2C7B8E03C76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C0B40671-E28D-A696-5C3A-26E74B90CD42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B4FA7EC-9762-E916-E5A2-A98735B0D5F2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80BEB7D-0A6C-A680-D4C6-124ADB32A974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BA871651-ED6D-9402-0FD1-47FAA6670C2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91ABB8B-E38B-3F7F-5A1A-28BD4E0B97C7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1F5DD8F-C865-498E-9B6D-5F55D223EF39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10D26E62-5B1C-3C85-CBD7-A786A0C52203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9DE29B0-7782-CCF3-67F1-27B976452846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3F8B953-ABBC-578A-0C50-0AE9D80EC912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EDF934A4-C363-172D-CFA4-898FC5241A29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3737B7C3-9AD1-D47B-9B72-6FDF7CBD70E8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81CAE9AC-9DEF-CA44-B451-57FF61624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9493" y="418734"/>
            <a:ext cx="2033938" cy="640164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8B48919A-876B-74B3-DFE5-8A362C10D0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9493" y="1087699"/>
            <a:ext cx="3424025" cy="488936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1D84534-C950-141F-FDBA-FBE93894A6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7496" y="1909598"/>
            <a:ext cx="1409666" cy="2252559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2D8ED4E5-089C-FF04-1425-1BAE287C5AC5}"/>
              </a:ext>
            </a:extLst>
          </p:cNvPr>
          <p:cNvSpPr/>
          <p:nvPr/>
        </p:nvSpPr>
        <p:spPr>
          <a:xfrm>
            <a:off x="5671771" y="160758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94ADFCB-AD8B-8981-36AC-490B364E8E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887" y="1895582"/>
            <a:ext cx="1357089" cy="2265908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A65F964-7334-E20A-719B-406F53155A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8569" y="1911412"/>
            <a:ext cx="2508782" cy="223674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FB15C945-F617-490F-A622-67E2A37CDB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01696" y="4463319"/>
            <a:ext cx="2206844" cy="45287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0A5A123F-4DC9-3269-BEDB-CC6407A4C6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6916" y="5317461"/>
            <a:ext cx="4819650" cy="2095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85B9BFB4-C257-2507-011C-3D0C31BD9B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06916" y="5583499"/>
            <a:ext cx="5162917" cy="2381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E77E300A-E2E4-FE75-5DDA-4B91A213AB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06916" y="5856198"/>
            <a:ext cx="4844341" cy="563608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0316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D0411-8FF8-C540-84AE-DBA0703D3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8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B84506E-0B2F-4BA8-892E-8CE3753AF954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endParaRPr lang="en-US">
              <a:solidFill>
                <a:srgbClr val="1C7DDB"/>
              </a:solidFill>
              <a:latin typeface="Abadi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F5ABFD-B4D4-43FF-959F-AFAF45B45269}"/>
              </a:ext>
            </a:extLst>
          </p:cNvPr>
          <p:cNvSpPr txBox="1">
            <a:spLocks/>
          </p:cNvSpPr>
          <p:nvPr/>
        </p:nvSpPr>
        <p:spPr>
          <a:xfrm>
            <a:off x="922411" y="6910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Collection - Scraping</a:t>
            </a:r>
            <a:endParaRPr lang="en-US" dirty="0">
              <a:solidFill>
                <a:srgbClr val="0B49C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A847F8-3185-BD8D-705B-DE62EB607AC5}"/>
              </a:ext>
            </a:extLst>
          </p:cNvPr>
          <p:cNvSpPr txBox="1"/>
          <p:nvPr/>
        </p:nvSpPr>
        <p:spPr>
          <a:xfrm>
            <a:off x="154062" y="1283441"/>
            <a:ext cx="57098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Web scraping to collect Falcon 9 historical launch records from a Wikipedia page titled List of Falcon 9 and Falcon Heavy launches.</a:t>
            </a:r>
            <a:endParaRPr lang="en-US" sz="16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C07ED5-D80D-B2D0-7625-0568099540C2}"/>
              </a:ext>
            </a:extLst>
          </p:cNvPr>
          <p:cNvSpPr/>
          <p:nvPr/>
        </p:nvSpPr>
        <p:spPr>
          <a:xfrm>
            <a:off x="5869142" y="1203954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D7D854C-7006-377D-E84F-26C638C3A789}"/>
              </a:ext>
            </a:extLst>
          </p:cNvPr>
          <p:cNvSpPr/>
          <p:nvPr/>
        </p:nvSpPr>
        <p:spPr>
          <a:xfrm>
            <a:off x="6508023" y="206965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3D14F1F-B671-2487-4818-0BB07F7081B8}"/>
              </a:ext>
            </a:extLst>
          </p:cNvPr>
          <p:cNvSpPr/>
          <p:nvPr/>
        </p:nvSpPr>
        <p:spPr>
          <a:xfrm>
            <a:off x="7059507" y="4099883"/>
            <a:ext cx="271179" cy="273069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78D3D5CF-5348-4002-45E4-1566B18DBD6C}"/>
              </a:ext>
            </a:extLst>
          </p:cNvPr>
          <p:cNvSpPr/>
          <p:nvPr/>
        </p:nvSpPr>
        <p:spPr>
          <a:xfrm>
            <a:off x="6140940" y="6290676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5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F4CEDF2-A7F3-E4E0-AA98-26F260376CD0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379276A-21A3-70B0-5EA3-F6AE95A3B84A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EB517BC-A8FB-BC1E-5C00-7805B70EB81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7B1A6DD-EB4E-CBBD-922E-8308E5618DD8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E070D5E-01FE-39B7-81B6-6E732AB17DA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E957877-1640-6C37-0707-63D5F5051DAD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3023394-6B56-3BBD-8309-9A672C559862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3874ED7-45B0-FFB8-9B03-6E540BDC280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1348397-2470-87A1-71AE-0A71008AA18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A4CCB5F-FA85-0841-6F3A-47F8DAC31B27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DFF22217-DF37-3A5F-27B1-8F5B39CA3577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3B53A34-5E4B-6127-0065-5E4B22072790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79C34BC-EA39-E421-EBC7-EC1EE1D52496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81A57DA-E417-B7B8-F4A9-2ABB511CD57B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A7AB197-6636-C9A5-2D8C-3F9A3F0D015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D3BDA3B0-2B3C-890D-0144-B0C0E660A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342" y="1384554"/>
            <a:ext cx="5436745" cy="274129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9E52F23-183D-DFD3-8807-2449A48FB1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342" y="1715021"/>
            <a:ext cx="2914650" cy="22860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E813B63-C26E-DE93-ECB4-2524F08C14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2754" y="2198973"/>
            <a:ext cx="3870582" cy="213714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3F72599-CBAA-6B8F-8889-E2A2A1DD40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38948" y="2431561"/>
            <a:ext cx="2790887" cy="224554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3575A932-D1DD-6C1C-106E-6538228D6F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9131" y="2895565"/>
            <a:ext cx="5014964" cy="104095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D63276B-C537-0FDE-B306-5311B20A8C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97093" y="4266912"/>
            <a:ext cx="3179978" cy="2005392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60276094-E16F-E35F-D31F-C97CAAAB9E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4392" y="6546962"/>
            <a:ext cx="4931457" cy="207721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B3964E45-7037-12F4-9B79-35E006C9DACD}"/>
              </a:ext>
            </a:extLst>
          </p:cNvPr>
          <p:cNvSpPr/>
          <p:nvPr/>
        </p:nvSpPr>
        <p:spPr>
          <a:xfrm>
            <a:off x="6049962" y="2654000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85553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021CA9-7CB7-1046-8FA0-21F127C19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5537C-CA84-1446-933C-8E9D027F9201}" type="slidenum">
              <a:rPr lang="en-US" smtClean="0"/>
              <a:t>9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665A13-3129-46DF-B847-F273F3E96BE6}"/>
              </a:ext>
            </a:extLst>
          </p:cNvPr>
          <p:cNvSpPr txBox="1">
            <a:spLocks/>
          </p:cNvSpPr>
          <p:nvPr/>
        </p:nvSpPr>
        <p:spPr>
          <a:xfrm>
            <a:off x="770011" y="538650"/>
            <a:ext cx="10515600" cy="5490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5493"/>
                </a:solidFill>
                <a:latin typeface="IBM Plex Mono SemiBold" panose="020B0709050203000203" pitchFamily="49" charset="0"/>
                <a:ea typeface="IBM Plex Mono SemiBold" panose="020B0709050203000203" pitchFamily="49" charset="0"/>
                <a:cs typeface="IBM Plex Mono SemiBold" panose="020B0709050203000203" pitchFamily="49" charset="0"/>
              </a:defRPr>
            </a:lvl1pPr>
          </a:lstStyle>
          <a:p>
            <a:r>
              <a:rPr lang="en-US" dirty="0">
                <a:solidFill>
                  <a:srgbClr val="0B49CB"/>
                </a:solidFill>
                <a:latin typeface="Abadi"/>
              </a:rPr>
              <a:t>Data Wrangling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164D83E-FC5C-D34F-B8A8-60C65CED7C4D}"/>
              </a:ext>
            </a:extLst>
          </p:cNvPr>
          <p:cNvSpPr txBox="1">
            <a:spLocks/>
          </p:cNvSpPr>
          <p:nvPr/>
        </p:nvSpPr>
        <p:spPr>
          <a:xfrm>
            <a:off x="404813" y="1447801"/>
            <a:ext cx="6339259" cy="176517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Font typeface="Arial" panose="020B0604020202020204" pitchFamily="34" charset="0"/>
              <a:buNone/>
            </a:pPr>
            <a:r>
              <a:rPr lang="en-GB" sz="1600" dirty="0"/>
              <a:t>Context:</a:t>
            </a:r>
          </a:p>
          <a:p>
            <a:pPr marL="342900" indent="-342900"/>
            <a:r>
              <a:rPr lang="en-GB" sz="1400" dirty="0"/>
              <a:t>The SpaceX dataset contains several Space X  launch facilities, and each location is in the 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GB" sz="1400" dirty="0"/>
              <a:t>column.</a:t>
            </a:r>
          </a:p>
          <a:p>
            <a:pPr marL="342900" indent="-342900"/>
            <a:r>
              <a:rPr lang="en-GB" sz="1400" dirty="0"/>
              <a:t>Each launch aims to a dedicated orbit, and some of the common orbit types are shown in the figure below. The orbit type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1400" dirty="0"/>
              <a:t> column.</a:t>
            </a:r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marL="342900" indent="-342900"/>
            <a:endParaRPr lang="en-GB" sz="1400" dirty="0"/>
          </a:p>
          <a:p>
            <a:pPr lvl="1" indent="0" algn="ctr">
              <a:buFont typeface="Arial" panose="020B0604020202020204" pitchFamily="34" charset="0"/>
              <a:buNone/>
            </a:pPr>
            <a:r>
              <a:rPr lang="en-GB" sz="1600" dirty="0"/>
              <a:t>Initial Data Exploration:</a:t>
            </a:r>
          </a:p>
          <a:p>
            <a:pPr marL="342900" indent="-342900"/>
            <a:r>
              <a:rPr lang="en-GB" sz="1400" dirty="0"/>
              <a:t>Using the </a:t>
            </a:r>
            <a:r>
              <a:rPr lang="en-GB" sz="1400" dirty="0">
                <a:solidFill>
                  <a:schemeClr val="accent1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ue_counts</a:t>
            </a:r>
            <a:r>
              <a:rPr lang="en-GB" sz="1400" dirty="0">
                <a:solidFill>
                  <a:schemeClr val="accent1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/>
              <a:t> method to determine the following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of launches on each sit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each orbi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landing outcome per orbit type</a:t>
            </a:r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marL="342900" indent="-342900"/>
            <a:endParaRPr lang="en-GB" sz="1200" dirty="0"/>
          </a:p>
          <a:p>
            <a:pPr lvl="2" indent="0">
              <a:buFont typeface="Arial" panose="020B0604020202020204" pitchFamily="34" charset="0"/>
              <a:buNone/>
            </a:pPr>
            <a:endParaRPr lang="en-GB" sz="11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1D4F8C-09B3-6474-B7D7-7CDF47A72F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729" t="12200" r="13202" b="4851"/>
          <a:stretch/>
        </p:blipFill>
        <p:spPr>
          <a:xfrm>
            <a:off x="2414368" y="2852936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C26A79AE-26B8-1110-6263-96956AB1902E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38A1FEA-E5D4-D130-D401-D7B44335BC0A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E21158-E1FE-2CCC-7497-2FADD34A795A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91AAAE3-6F35-1E1E-77CB-72CA617EB5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3682" y="188640"/>
            <a:ext cx="3010737" cy="136988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E9B69AC-5EE1-0E58-FB46-8610158386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7221" y="1781278"/>
            <a:ext cx="2772199" cy="2699032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D7DF4A9-AF6E-A3D6-647A-81CFD3C8B7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4764" y="4675120"/>
            <a:ext cx="2844656" cy="2047873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87552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D86F56755A646AC8AFCBCBD967F21" ma:contentTypeVersion="12" ma:contentTypeDescription="Create a new document." ma:contentTypeScope="" ma:versionID="5271f8e20090c87afed7729ac71f61b2">
  <xsd:schema xmlns:xsd="http://www.w3.org/2001/XMLSchema" xmlns:xs="http://www.w3.org/2001/XMLSchema" xmlns:p="http://schemas.microsoft.com/office/2006/metadata/properties" xmlns:ns2="155be751-a274-42e8-93fb-f39d3b9bccc8" xmlns:ns3="f80a141d-92ca-4d3d-9308-f7e7b1d44ce8" targetNamespace="http://schemas.microsoft.com/office/2006/metadata/properties" ma:root="true" ma:fieldsID="cf12c133eb44377ebd94fdb7db4757b0" ns2:_="" ns3:_="">
    <xsd:import namespace="155be751-a274-42e8-93fb-f39d3b9bccc8"/>
    <xsd:import namespace="f80a141d-92ca-4d3d-9308-f7e7b1d44c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be751-a274-42e8-93fb-f39d3b9bcc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0a141d-92ca-4d3d-9308-f7e7b1d44ce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840426-F08D-42AC-9846-A20E4AB85A26}">
  <ds:schemaRefs>
    <ds:schemaRef ds:uri="155be751-a274-42e8-93fb-f39d3b9bccc8"/>
    <ds:schemaRef ds:uri="f80a141d-92ca-4d3d-9308-f7e7b1d44ce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DA07C5-A406-4A0D-B3E6-3856C94AC7F3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f80a141d-92ca-4d3d-9308-f7e7b1d44ce8"/>
    <ds:schemaRef ds:uri="http://purl.org/dc/dcmitype/"/>
    <ds:schemaRef ds:uri="http://www.w3.org/XML/1998/namespace"/>
    <ds:schemaRef ds:uri="155be751-a274-42e8-93fb-f39d3b9bccc8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EFDA260-DDA0-422C-B7AE-778F653FBB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</TotalTime>
  <Words>3662</Words>
  <Application>Microsoft Office PowerPoint</Application>
  <PresentationFormat>Widescreen</PresentationFormat>
  <Paragraphs>512</Paragraphs>
  <Slides>4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7" baseType="lpstr">
      <vt:lpstr>Abadi</vt:lpstr>
      <vt:lpstr>Arial</vt:lpstr>
      <vt:lpstr>Calibri</vt:lpstr>
      <vt:lpstr>Cambria Math</vt:lpstr>
      <vt:lpstr>Consolas</vt:lpstr>
      <vt:lpstr>IBM Plex Mono SemiBold</vt:lpstr>
      <vt:lpstr>Ubuntu</vt:lpstr>
      <vt:lpstr>Ubuntu Medium</vt:lpstr>
      <vt:lpstr>Wingdings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&lt;Title&gt;</dc:title>
  <dc:creator>YAN Luo</dc:creator>
  <cp:lastModifiedBy>Hudales Ružić Luka</cp:lastModifiedBy>
  <cp:revision>202</cp:revision>
  <dcterms:created xsi:type="dcterms:W3CDTF">2021-04-29T18:58:34Z</dcterms:created>
  <dcterms:modified xsi:type="dcterms:W3CDTF">2025-04-25T14:1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D86F56755A646AC8AFCBCBD967F21</vt:lpwstr>
  </property>
  <property fmtid="{D5CDD505-2E9C-101B-9397-08002B2CF9AE}" pid="3" name="MSIP_Label_72988d88-5fe0-47a4-9360-6624a6a4a677_Enabled">
    <vt:lpwstr>true</vt:lpwstr>
  </property>
  <property fmtid="{D5CDD505-2E9C-101B-9397-08002B2CF9AE}" pid="4" name="MSIP_Label_72988d88-5fe0-47a4-9360-6624a6a4a677_SetDate">
    <vt:lpwstr>2025-04-25T08:57:29Z</vt:lpwstr>
  </property>
  <property fmtid="{D5CDD505-2E9C-101B-9397-08002B2CF9AE}" pid="5" name="MSIP_Label_72988d88-5fe0-47a4-9360-6624a6a4a677_Method">
    <vt:lpwstr>Privileged</vt:lpwstr>
  </property>
  <property fmtid="{D5CDD505-2E9C-101B-9397-08002B2CF9AE}" pid="6" name="MSIP_Label_72988d88-5fe0-47a4-9360-6624a6a4a677_Name">
    <vt:lpwstr>Za javno objavo</vt:lpwstr>
  </property>
  <property fmtid="{D5CDD505-2E9C-101B-9397-08002B2CF9AE}" pid="7" name="MSIP_Label_72988d88-5fe0-47a4-9360-6624a6a4a677_SiteId">
    <vt:lpwstr>368e92b5-dfa0-4bce-9594-4c2e6fd2d1eb</vt:lpwstr>
  </property>
  <property fmtid="{D5CDD505-2E9C-101B-9397-08002B2CF9AE}" pid="8" name="MSIP_Label_72988d88-5fe0-47a4-9360-6624a6a4a677_ActionId">
    <vt:lpwstr>5759b042-f51e-4706-9432-33425375e35c</vt:lpwstr>
  </property>
  <property fmtid="{D5CDD505-2E9C-101B-9397-08002B2CF9AE}" pid="9" name="MSIP_Label_72988d88-5fe0-47a4-9360-6624a6a4a677_ContentBits">
    <vt:lpwstr>0</vt:lpwstr>
  </property>
</Properties>
</file>